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6.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media/image51.jpg" ContentType="image/png"/>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3.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4.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8.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0.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41.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4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96"/>
  </p:notesMasterIdLst>
  <p:handoutMasterIdLst>
    <p:handoutMasterId r:id="rId97"/>
  </p:handoutMasterIdLst>
  <p:sldIdLst>
    <p:sldId id="455" r:id="rId3"/>
    <p:sldId id="2147473530" r:id="rId4"/>
    <p:sldId id="2147473493" r:id="rId5"/>
    <p:sldId id="2147473838" r:id="rId6"/>
    <p:sldId id="2147473839" r:id="rId7"/>
    <p:sldId id="2147473856" r:id="rId8"/>
    <p:sldId id="2147473815" r:id="rId9"/>
    <p:sldId id="2147473816" r:id="rId10"/>
    <p:sldId id="2147473817" r:id="rId11"/>
    <p:sldId id="2147473818" r:id="rId12"/>
    <p:sldId id="2147473819" r:id="rId13"/>
    <p:sldId id="2147473855" r:id="rId14"/>
    <p:sldId id="2147473823" r:id="rId15"/>
    <p:sldId id="2147473824" r:id="rId16"/>
    <p:sldId id="2147473825" r:id="rId17"/>
    <p:sldId id="2147473826" r:id="rId18"/>
    <p:sldId id="2147473827" r:id="rId19"/>
    <p:sldId id="2147473828" r:id="rId20"/>
    <p:sldId id="2147473829" r:id="rId21"/>
    <p:sldId id="2147473830" r:id="rId22"/>
    <p:sldId id="2147473831" r:id="rId23"/>
    <p:sldId id="2147473832" r:id="rId24"/>
    <p:sldId id="2147473820" r:id="rId25"/>
    <p:sldId id="2147473766" r:id="rId26"/>
    <p:sldId id="2147473767" r:id="rId27"/>
    <p:sldId id="2147473801" r:id="rId28"/>
    <p:sldId id="2147473806" r:id="rId29"/>
    <p:sldId id="2147473805" r:id="rId30"/>
    <p:sldId id="2147473803" r:id="rId31"/>
    <p:sldId id="2147473729" r:id="rId32"/>
    <p:sldId id="2147473727" r:id="rId33"/>
    <p:sldId id="2147473728" r:id="rId34"/>
    <p:sldId id="2147473736" r:id="rId35"/>
    <p:sldId id="2147473758" r:id="rId36"/>
    <p:sldId id="2147473664" r:id="rId37"/>
    <p:sldId id="2147473737" r:id="rId38"/>
    <p:sldId id="2147473804" r:id="rId39"/>
    <p:sldId id="2147473670" r:id="rId40"/>
    <p:sldId id="2147473749" r:id="rId41"/>
    <p:sldId id="2147473750" r:id="rId42"/>
    <p:sldId id="2147473681" r:id="rId43"/>
    <p:sldId id="2147473790" r:id="rId44"/>
    <p:sldId id="2147473795" r:id="rId45"/>
    <p:sldId id="2147473851" r:id="rId46"/>
    <p:sldId id="2147473759" r:id="rId47"/>
    <p:sldId id="2147473852" r:id="rId48"/>
    <p:sldId id="2147473797" r:id="rId49"/>
    <p:sldId id="2147473798" r:id="rId50"/>
    <p:sldId id="2147473853" r:id="rId51"/>
    <p:sldId id="2147473800" r:id="rId52"/>
    <p:sldId id="2147473854" r:id="rId53"/>
    <p:sldId id="2147473792" r:id="rId54"/>
    <p:sldId id="2147473733" r:id="rId55"/>
    <p:sldId id="2147473857" r:id="rId56"/>
    <p:sldId id="2147473858" r:id="rId57"/>
    <p:sldId id="2147473859" r:id="rId58"/>
    <p:sldId id="2147473837" r:id="rId59"/>
    <p:sldId id="312" r:id="rId60"/>
    <p:sldId id="2147473545" r:id="rId61"/>
    <p:sldId id="2147473738" r:id="rId62"/>
    <p:sldId id="2147473711" r:id="rId63"/>
    <p:sldId id="541" r:id="rId64"/>
    <p:sldId id="2147473781" r:id="rId65"/>
    <p:sldId id="2147473776" r:id="rId66"/>
    <p:sldId id="2147473777" r:id="rId67"/>
    <p:sldId id="2147473779" r:id="rId68"/>
    <p:sldId id="2147473780" r:id="rId69"/>
    <p:sldId id="2147473522" r:id="rId70"/>
    <p:sldId id="2147473769" r:id="rId71"/>
    <p:sldId id="2147473768" r:id="rId72"/>
    <p:sldId id="2147473734" r:id="rId73"/>
    <p:sldId id="608" r:id="rId74"/>
    <p:sldId id="2147473754" r:id="rId75"/>
    <p:sldId id="2147473622" r:id="rId76"/>
    <p:sldId id="2147473590" r:id="rId77"/>
    <p:sldId id="2147468741" r:id="rId78"/>
    <p:sldId id="2147473752" r:id="rId79"/>
    <p:sldId id="2147473620" r:id="rId80"/>
    <p:sldId id="2147473536" r:id="rId81"/>
    <p:sldId id="2147473699" r:id="rId82"/>
    <p:sldId id="2147473683" r:id="rId83"/>
    <p:sldId id="2147473708" r:id="rId84"/>
    <p:sldId id="2147473707" r:id="rId85"/>
    <p:sldId id="2147473537" r:id="rId86"/>
    <p:sldId id="2147473580" r:id="rId87"/>
    <p:sldId id="2147473581" r:id="rId88"/>
    <p:sldId id="2147473539" r:id="rId89"/>
    <p:sldId id="2147473582" r:id="rId90"/>
    <p:sldId id="2147473710" r:id="rId91"/>
    <p:sldId id="2147473721" r:id="rId92"/>
    <p:sldId id="2147473541" r:id="rId93"/>
    <p:sldId id="2147473583" r:id="rId94"/>
    <p:sldId id="2147473466" r:id="rId95"/>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CB8DE4-BD92-49C7-8DE4-35477F9069EC}" v="137" dt="2023-06-12T09:30:16.128"/>
    <p1510:client id="{A0A1AF5B-C8A6-4505-B2BC-7B9D5E4B6587}" v="100" dt="2023-06-12T07:07:54.4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62799" autoAdjust="0"/>
  </p:normalViewPr>
  <p:slideViewPr>
    <p:cSldViewPr snapToGrid="0">
      <p:cViewPr varScale="1">
        <p:scale>
          <a:sx n="114" d="100"/>
          <a:sy n="114" d="100"/>
        </p:scale>
        <p:origin x="534" y="10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microsoft.com/office/2016/11/relationships/changesInfo" Target="changesInfos/changesInfo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handoutMaster" Target="handoutMasters/handout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presProps" Target="presProps.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BE80218A-C675-4EC2-AD94-24A89D98EEE1}"/>
    <pc:docChg chg="undo custSel addSld delSld modSld">
      <pc:chgData name="Tường SKHĐT" userId="ab9568c39a88b08a" providerId="LiveId" clId="{BE80218A-C675-4EC2-AD94-24A89D98EEE1}" dt="2023-06-08T07:49:06.856" v="10067" actId="20577"/>
      <pc:docMkLst>
        <pc:docMk/>
      </pc:docMkLst>
      <pc:sldChg chg="add del">
        <pc:chgData name="Tường SKHĐT" userId="ab9568c39a88b08a" providerId="LiveId" clId="{BE80218A-C675-4EC2-AD94-24A89D98EEE1}" dt="2023-06-07T03:37:37.100" v="1974" actId="2696"/>
        <pc:sldMkLst>
          <pc:docMk/>
          <pc:sldMk cId="3433287073" sldId="526"/>
        </pc:sldMkLst>
      </pc:sldChg>
      <pc:sldChg chg="add del">
        <pc:chgData name="Tường SKHĐT" userId="ab9568c39a88b08a" providerId="LiveId" clId="{BE80218A-C675-4EC2-AD94-24A89D98EEE1}" dt="2023-06-07T03:32:03.385" v="1589" actId="2696"/>
        <pc:sldMkLst>
          <pc:docMk/>
          <pc:sldMk cId="2991163202" sldId="539"/>
        </pc:sldMkLst>
      </pc:sldChg>
      <pc:sldChg chg="addSp delSp modSp add mod">
        <pc:chgData name="Tường SKHĐT" userId="ab9568c39a88b08a" providerId="LiveId" clId="{BE80218A-C675-4EC2-AD94-24A89D98EEE1}" dt="2023-06-07T03:51:56.562" v="2167" actId="20577"/>
        <pc:sldMkLst>
          <pc:docMk/>
          <pc:sldMk cId="2319489907" sldId="541"/>
        </pc:sldMkLst>
        <pc:spChg chg="mod">
          <ac:chgData name="Tường SKHĐT" userId="ab9568c39a88b08a" providerId="LiveId" clId="{BE80218A-C675-4EC2-AD94-24A89D98EEE1}" dt="2023-06-07T03:32:37.999" v="1604" actId="14100"/>
          <ac:spMkLst>
            <pc:docMk/>
            <pc:sldMk cId="2319489907" sldId="541"/>
            <ac:spMk id="2" creationId="{E44EE9E0-4EA3-0404-EFB1-8C6F74BFB274}"/>
          </ac:spMkLst>
        </pc:spChg>
        <pc:spChg chg="mod">
          <ac:chgData name="Tường SKHĐT" userId="ab9568c39a88b08a" providerId="LiveId" clId="{BE80218A-C675-4EC2-AD94-24A89D98EEE1}" dt="2023-06-07T03:51:56.562" v="2167" actId="20577"/>
          <ac:spMkLst>
            <pc:docMk/>
            <pc:sldMk cId="2319489907" sldId="541"/>
            <ac:spMk id="3" creationId="{22B2B715-653C-5238-09BE-B01B91D4BD2D}"/>
          </ac:spMkLst>
        </pc:spChg>
        <pc:spChg chg="del">
          <ac:chgData name="Tường SKHĐT" userId="ab9568c39a88b08a" providerId="LiveId" clId="{BE80218A-C675-4EC2-AD94-24A89D98EEE1}" dt="2023-06-07T03:32:07.357" v="1590" actId="21"/>
          <ac:spMkLst>
            <pc:docMk/>
            <pc:sldMk cId="2319489907" sldId="541"/>
            <ac:spMk id="4" creationId="{9D2F2080-50A0-6420-BD42-38A92C6AB08D}"/>
          </ac:spMkLst>
        </pc:spChg>
        <pc:spChg chg="add mod">
          <ac:chgData name="Tường SKHĐT" userId="ab9568c39a88b08a" providerId="LiveId" clId="{BE80218A-C675-4EC2-AD94-24A89D98EEE1}" dt="2023-06-07T03:32:41.987" v="1605" actId="1076"/>
          <ac:spMkLst>
            <pc:docMk/>
            <pc:sldMk cId="2319489907" sldId="541"/>
            <ac:spMk id="5" creationId="{18F6A53B-13E4-B860-BA70-773A997297E4}"/>
          </ac:spMkLst>
        </pc:spChg>
        <pc:spChg chg="del">
          <ac:chgData name="Tường SKHĐT" userId="ab9568c39a88b08a" providerId="LiveId" clId="{BE80218A-C675-4EC2-AD94-24A89D98EEE1}" dt="2023-06-07T03:32:07.357" v="1590" actId="21"/>
          <ac:spMkLst>
            <pc:docMk/>
            <pc:sldMk cId="2319489907" sldId="541"/>
            <ac:spMk id="8" creationId="{310BDFE0-6C26-8FF6-17BC-7D420AAE6BB9}"/>
          </ac:spMkLst>
        </pc:spChg>
      </pc:sldChg>
      <pc:sldChg chg="add del">
        <pc:chgData name="Tường SKHĐT" userId="ab9568c39a88b08a" providerId="LiveId" clId="{BE80218A-C675-4EC2-AD94-24A89D98EEE1}" dt="2023-06-07T03:37:46.163" v="1976" actId="2696"/>
        <pc:sldMkLst>
          <pc:docMk/>
          <pc:sldMk cId="2569004803" sldId="542"/>
        </pc:sldMkLst>
      </pc:sldChg>
      <pc:sldChg chg="add del">
        <pc:chgData name="Tường SKHĐT" userId="ab9568c39a88b08a" providerId="LiveId" clId="{BE80218A-C675-4EC2-AD94-24A89D98EEE1}" dt="2023-06-07T03:37:21.697" v="1971" actId="2696"/>
        <pc:sldMkLst>
          <pc:docMk/>
          <pc:sldMk cId="222035395" sldId="543"/>
        </pc:sldMkLst>
      </pc:sldChg>
      <pc:sldChg chg="add del">
        <pc:chgData name="Tường SKHĐT" userId="ab9568c39a88b08a" providerId="LiveId" clId="{BE80218A-C675-4EC2-AD94-24A89D98EEE1}" dt="2023-06-07T03:36:55.914" v="1924" actId="2696"/>
        <pc:sldMkLst>
          <pc:docMk/>
          <pc:sldMk cId="2756607218" sldId="544"/>
        </pc:sldMkLst>
      </pc:sldChg>
      <pc:sldChg chg="add del">
        <pc:chgData name="Tường SKHĐT" userId="ab9568c39a88b08a" providerId="LiveId" clId="{BE80218A-C675-4EC2-AD94-24A89D98EEE1}" dt="2023-06-07T03:36:29.531" v="1880" actId="2696"/>
        <pc:sldMkLst>
          <pc:docMk/>
          <pc:sldMk cId="2512179538" sldId="545"/>
        </pc:sldMkLst>
      </pc:sldChg>
      <pc:sldChg chg="add del">
        <pc:chgData name="Tường SKHĐT" userId="ab9568c39a88b08a" providerId="LiveId" clId="{BE80218A-C675-4EC2-AD94-24A89D98EEE1}" dt="2023-06-07T03:36:18.608" v="1878" actId="2696"/>
        <pc:sldMkLst>
          <pc:docMk/>
          <pc:sldMk cId="2154953636" sldId="546"/>
        </pc:sldMkLst>
      </pc:sldChg>
      <pc:sldChg chg="del">
        <pc:chgData name="Tường SKHĐT" userId="ab9568c39a88b08a" providerId="LiveId" clId="{BE80218A-C675-4EC2-AD94-24A89D98EEE1}" dt="2023-06-06T03:19:44.868" v="1331" actId="2696"/>
        <pc:sldMkLst>
          <pc:docMk/>
          <pc:sldMk cId="1473453022" sldId="2147473487"/>
        </pc:sldMkLst>
      </pc:sldChg>
      <pc:sldChg chg="del">
        <pc:chgData name="Tường SKHĐT" userId="ab9568c39a88b08a" providerId="LiveId" clId="{BE80218A-C675-4EC2-AD94-24A89D98EEE1}" dt="2023-06-07T03:58:35.337" v="2290" actId="2696"/>
        <pc:sldMkLst>
          <pc:docMk/>
          <pc:sldMk cId="2307671257" sldId="2147473521"/>
        </pc:sldMkLst>
      </pc:sldChg>
      <pc:sldChg chg="modSp mod">
        <pc:chgData name="Tường SKHĐT" userId="ab9568c39a88b08a" providerId="LiveId" clId="{BE80218A-C675-4EC2-AD94-24A89D98EEE1}" dt="2023-06-07T04:06:15.733" v="2401" actId="14100"/>
        <pc:sldMkLst>
          <pc:docMk/>
          <pc:sldMk cId="2802465441" sldId="2147473522"/>
        </pc:sldMkLst>
        <pc:graphicFrameChg chg="mod modGraphic">
          <ac:chgData name="Tường SKHĐT" userId="ab9568c39a88b08a" providerId="LiveId" clId="{BE80218A-C675-4EC2-AD94-24A89D98EEE1}" dt="2023-06-07T04:06:15.733" v="2401" actId="14100"/>
          <ac:graphicFrameMkLst>
            <pc:docMk/>
            <pc:sldMk cId="2802465441" sldId="2147473522"/>
            <ac:graphicFrameMk id="9" creationId="{0FC7DBA8-03B5-1D5D-B7A1-68AA6F62DF7E}"/>
          </ac:graphicFrameMkLst>
        </pc:graphicFrameChg>
      </pc:sldChg>
      <pc:sldChg chg="del">
        <pc:chgData name="Tường SKHĐT" userId="ab9568c39a88b08a" providerId="LiveId" clId="{BE80218A-C675-4EC2-AD94-24A89D98EEE1}" dt="2023-06-06T04:12:49.264" v="1432" actId="2696"/>
        <pc:sldMkLst>
          <pc:docMk/>
          <pc:sldMk cId="397313561" sldId="2147473547"/>
        </pc:sldMkLst>
      </pc:sldChg>
      <pc:sldChg chg="addSp delSp modSp mod">
        <pc:chgData name="Tường SKHĐT" userId="ab9568c39a88b08a" providerId="LiveId" clId="{BE80218A-C675-4EC2-AD94-24A89D98EEE1}" dt="2023-06-08T03:15:05.359" v="9387" actId="14100"/>
        <pc:sldMkLst>
          <pc:docMk/>
          <pc:sldMk cId="1163171153" sldId="2147473582"/>
        </pc:sldMkLst>
        <pc:spChg chg="mod">
          <ac:chgData name="Tường SKHĐT" userId="ab9568c39a88b08a" providerId="LiveId" clId="{BE80218A-C675-4EC2-AD94-24A89D98EEE1}" dt="2023-06-08T03:14:46.990" v="9383" actId="1076"/>
          <ac:spMkLst>
            <pc:docMk/>
            <pc:sldMk cId="1163171153" sldId="2147473582"/>
            <ac:spMk id="2" creationId="{A49FA47D-1679-133E-0301-5CFB76FC4F8D}"/>
          </ac:spMkLst>
        </pc:spChg>
        <pc:graphicFrameChg chg="mod">
          <ac:chgData name="Tường SKHĐT" userId="ab9568c39a88b08a" providerId="LiveId" clId="{BE80218A-C675-4EC2-AD94-24A89D98EEE1}" dt="2023-06-08T03:13:13.854" v="9337" actId="1076"/>
          <ac:graphicFrameMkLst>
            <pc:docMk/>
            <pc:sldMk cId="1163171153" sldId="2147473582"/>
            <ac:graphicFrameMk id="13" creationId="{BA133DC1-3B7F-1EF5-AC03-623DAED491B9}"/>
          </ac:graphicFrameMkLst>
        </pc:graphicFrameChg>
        <pc:picChg chg="add mod">
          <ac:chgData name="Tường SKHĐT" userId="ab9568c39a88b08a" providerId="LiveId" clId="{BE80218A-C675-4EC2-AD94-24A89D98EEE1}" dt="2023-06-08T03:15:05.359" v="9387" actId="14100"/>
          <ac:picMkLst>
            <pc:docMk/>
            <pc:sldMk cId="1163171153" sldId="2147473582"/>
            <ac:picMk id="3" creationId="{8ECDE32C-3CEA-B622-DD60-CA5D943EEBEB}"/>
          </ac:picMkLst>
        </pc:picChg>
        <pc:picChg chg="mod">
          <ac:chgData name="Tường SKHĐT" userId="ab9568c39a88b08a" providerId="LiveId" clId="{BE80218A-C675-4EC2-AD94-24A89D98EEE1}" dt="2023-06-08T03:14:49.148" v="9384" actId="1076"/>
          <ac:picMkLst>
            <pc:docMk/>
            <pc:sldMk cId="1163171153" sldId="2147473582"/>
            <ac:picMk id="5" creationId="{36D40177-B5F5-4CD7-89E9-D49ADE361564}"/>
          </ac:picMkLst>
        </pc:picChg>
        <pc:picChg chg="del">
          <ac:chgData name="Tường SKHĐT" userId="ab9568c39a88b08a" providerId="LiveId" clId="{BE80218A-C675-4EC2-AD94-24A89D98EEE1}" dt="2023-06-08T03:13:02.433" v="9332" actId="21"/>
          <ac:picMkLst>
            <pc:docMk/>
            <pc:sldMk cId="1163171153" sldId="2147473582"/>
            <ac:picMk id="8" creationId="{83D3B8D5-360E-E1E0-FC28-3F5272FBAFB5}"/>
          </ac:picMkLst>
        </pc:picChg>
      </pc:sldChg>
      <pc:sldChg chg="modSp mod">
        <pc:chgData name="Tường SKHĐT" userId="ab9568c39a88b08a" providerId="LiveId" clId="{BE80218A-C675-4EC2-AD94-24A89D98EEE1}" dt="2023-06-08T03:15:36.430" v="9390" actId="14100"/>
        <pc:sldMkLst>
          <pc:docMk/>
          <pc:sldMk cId="740355695" sldId="2147473583"/>
        </pc:sldMkLst>
        <pc:spChg chg="mod">
          <ac:chgData name="Tường SKHĐT" userId="ab9568c39a88b08a" providerId="LiveId" clId="{BE80218A-C675-4EC2-AD94-24A89D98EEE1}" dt="2023-06-08T03:15:36.430" v="9390" actId="14100"/>
          <ac:spMkLst>
            <pc:docMk/>
            <pc:sldMk cId="740355695" sldId="2147473583"/>
            <ac:spMk id="3" creationId="{F4077AF3-E87B-6ED3-C32E-F690520025FC}"/>
          </ac:spMkLst>
        </pc:spChg>
      </pc:sldChg>
      <pc:sldChg chg="addSp delSp modSp del">
        <pc:chgData name="Tường SKHĐT" userId="ab9568c39a88b08a" providerId="LiveId" clId="{BE80218A-C675-4EC2-AD94-24A89D98EEE1}" dt="2023-06-07T04:02:13.721" v="2335" actId="2696"/>
        <pc:sldMkLst>
          <pc:docMk/>
          <pc:sldMk cId="2711314153" sldId="2147473605"/>
        </pc:sldMkLst>
        <pc:spChg chg="add del mod">
          <ac:chgData name="Tường SKHĐT" userId="ab9568c39a88b08a" providerId="LiveId" clId="{BE80218A-C675-4EC2-AD94-24A89D98EEE1}" dt="2023-06-07T03:32:14.505" v="1592"/>
          <ac:spMkLst>
            <pc:docMk/>
            <pc:sldMk cId="2711314153" sldId="2147473605"/>
            <ac:spMk id="2" creationId="{8A69C966-D596-3C45-BE4C-8252EE6349DE}"/>
          </ac:spMkLst>
        </pc:spChg>
      </pc:sldChg>
      <pc:sldChg chg="add">
        <pc:chgData name="Tường SKHĐT" userId="ab9568c39a88b08a" providerId="LiveId" clId="{BE80218A-C675-4EC2-AD94-24A89D98EEE1}" dt="2023-06-06T03:23:42.647" v="1370"/>
        <pc:sldMkLst>
          <pc:docMk/>
          <pc:sldMk cId="1174761856" sldId="2147473632"/>
        </pc:sldMkLst>
      </pc:sldChg>
      <pc:sldChg chg="addSp delSp modSp mod">
        <pc:chgData name="Tường SKHĐT" userId="ab9568c39a88b08a" providerId="LiveId" clId="{BE80218A-C675-4EC2-AD94-24A89D98EEE1}" dt="2023-06-08T02:50:29.728" v="8485" actId="1076"/>
        <pc:sldMkLst>
          <pc:docMk/>
          <pc:sldMk cId="635207881" sldId="2147473670"/>
        </pc:sldMkLst>
        <pc:spChg chg="mod">
          <ac:chgData name="Tường SKHĐT" userId="ab9568c39a88b08a" providerId="LiveId" clId="{BE80218A-C675-4EC2-AD94-24A89D98EEE1}" dt="2023-06-07T08:49:26.210" v="2962" actId="1076"/>
          <ac:spMkLst>
            <pc:docMk/>
            <pc:sldMk cId="635207881" sldId="2147473670"/>
            <ac:spMk id="7" creationId="{ACBD9817-7C26-4351-4F99-4699D41AD9E3}"/>
          </ac:spMkLst>
        </pc:spChg>
        <pc:spChg chg="mod">
          <ac:chgData name="Tường SKHĐT" userId="ab9568c39a88b08a" providerId="LiveId" clId="{BE80218A-C675-4EC2-AD94-24A89D98EEE1}" dt="2023-06-07T08:49:24.143" v="2961" actId="1076"/>
          <ac:spMkLst>
            <pc:docMk/>
            <pc:sldMk cId="635207881" sldId="2147473670"/>
            <ac:spMk id="12" creationId="{9770937D-1377-CC7E-CF4C-63302C488F3E}"/>
          </ac:spMkLst>
        </pc:spChg>
        <pc:graphicFrameChg chg="del mod modGraphic">
          <ac:chgData name="Tường SKHĐT" userId="ab9568c39a88b08a" providerId="LiveId" clId="{BE80218A-C675-4EC2-AD94-24A89D98EEE1}" dt="2023-06-07T08:50:39.276" v="2976" actId="21"/>
          <ac:graphicFrameMkLst>
            <pc:docMk/>
            <pc:sldMk cId="635207881" sldId="2147473670"/>
            <ac:graphicFrameMk id="2" creationId="{3BF8E8E2-FC7A-766D-120A-12F0136F960F}"/>
          </ac:graphicFrameMkLst>
        </pc:graphicFrameChg>
        <pc:graphicFrameChg chg="mod">
          <ac:chgData name="Tường SKHĐT" userId="ab9568c39a88b08a" providerId="LiveId" clId="{BE80218A-C675-4EC2-AD94-24A89D98EEE1}" dt="2023-06-08T02:50:29.728" v="8485" actId="1076"/>
          <ac:graphicFrameMkLst>
            <pc:docMk/>
            <pc:sldMk cId="635207881" sldId="2147473670"/>
            <ac:graphicFrameMk id="2" creationId="{5A69614E-E563-542C-0FFA-4E46BF5706A8}"/>
          </ac:graphicFrameMkLst>
        </pc:graphicFrameChg>
        <pc:graphicFrameChg chg="add mod modGraphic">
          <ac:chgData name="Tường SKHĐT" userId="ab9568c39a88b08a" providerId="LiveId" clId="{BE80218A-C675-4EC2-AD94-24A89D98EEE1}" dt="2023-06-07T10:13:54.757" v="4922" actId="20577"/>
          <ac:graphicFrameMkLst>
            <pc:docMk/>
            <pc:sldMk cId="635207881" sldId="2147473670"/>
            <ac:graphicFrameMk id="3" creationId="{27267577-2F7F-EB37-FACE-F5430831095C}"/>
          </ac:graphicFrameMkLst>
        </pc:graphicFrameChg>
        <pc:graphicFrameChg chg="del mod">
          <ac:chgData name="Tường SKHĐT" userId="ab9568c39a88b08a" providerId="LiveId" clId="{BE80218A-C675-4EC2-AD94-24A89D98EEE1}" dt="2023-06-08T02:50:24.756" v="8484" actId="21"/>
          <ac:graphicFrameMkLst>
            <pc:docMk/>
            <pc:sldMk cId="635207881" sldId="2147473670"/>
            <ac:graphicFrameMk id="11" creationId="{8CE30905-28A9-9689-2C3E-6531B00500B9}"/>
          </ac:graphicFrameMkLst>
        </pc:graphicFrameChg>
      </pc:sldChg>
      <pc:sldChg chg="modSp mod">
        <pc:chgData name="Tường SKHĐT" userId="ab9568c39a88b08a" providerId="LiveId" clId="{BE80218A-C675-4EC2-AD94-24A89D98EEE1}" dt="2023-06-07T09:42:46.777" v="3445" actId="1076"/>
        <pc:sldMkLst>
          <pc:docMk/>
          <pc:sldMk cId="293803616" sldId="2147473681"/>
        </pc:sldMkLst>
        <pc:graphicFrameChg chg="mod">
          <ac:chgData name="Tường SKHĐT" userId="ab9568c39a88b08a" providerId="LiveId" clId="{BE80218A-C675-4EC2-AD94-24A89D98EEE1}" dt="2023-06-07T09:42:46.777" v="3445" actId="1076"/>
          <ac:graphicFrameMkLst>
            <pc:docMk/>
            <pc:sldMk cId="293803616" sldId="2147473681"/>
            <ac:graphicFrameMk id="8" creationId="{B5E5335D-2EED-82AF-3A59-FAE8BB94EAE1}"/>
          </ac:graphicFrameMkLst>
        </pc:graphicFrameChg>
      </pc:sldChg>
      <pc:sldChg chg="del">
        <pc:chgData name="Tường SKHĐT" userId="ab9568c39a88b08a" providerId="LiveId" clId="{BE80218A-C675-4EC2-AD94-24A89D98EEE1}" dt="2023-06-05T04:28:25.094" v="0" actId="2696"/>
        <pc:sldMkLst>
          <pc:docMk/>
          <pc:sldMk cId="2891713991" sldId="2147473682"/>
        </pc:sldMkLst>
      </pc:sldChg>
      <pc:sldChg chg="modSp">
        <pc:chgData name="Tường SKHĐT" userId="ab9568c39a88b08a" providerId="LiveId" clId="{BE80218A-C675-4EC2-AD94-24A89D98EEE1}" dt="2023-06-05T04:41:23.741" v="71" actId="20577"/>
        <pc:sldMkLst>
          <pc:docMk/>
          <pc:sldMk cId="3956457276" sldId="2147473683"/>
        </pc:sldMkLst>
        <pc:spChg chg="mod">
          <ac:chgData name="Tường SKHĐT" userId="ab9568c39a88b08a" providerId="LiveId" clId="{BE80218A-C675-4EC2-AD94-24A89D98EEE1}" dt="2023-06-05T04:41:23.741" v="71" actId="20577"/>
          <ac:spMkLst>
            <pc:docMk/>
            <pc:sldMk cId="3956457276" sldId="2147473683"/>
            <ac:spMk id="2" creationId="{A49FA47D-1679-133E-0301-5CFB76FC4F8D}"/>
          </ac:spMkLst>
        </pc:spChg>
      </pc:sldChg>
      <pc:sldChg chg="addSp modSp mod">
        <pc:chgData name="Tường SKHĐT" userId="ab9568c39a88b08a" providerId="LiveId" clId="{BE80218A-C675-4EC2-AD94-24A89D98EEE1}" dt="2023-06-05T04:40:52.867" v="69" actId="20577"/>
        <pc:sldMkLst>
          <pc:docMk/>
          <pc:sldMk cId="67746271" sldId="2147473699"/>
        </pc:sldMkLst>
        <pc:spChg chg="mod">
          <ac:chgData name="Tường SKHĐT" userId="ab9568c39a88b08a" providerId="LiveId" clId="{BE80218A-C675-4EC2-AD94-24A89D98EEE1}" dt="2023-06-05T04:40:52.867" v="69" actId="20577"/>
          <ac:spMkLst>
            <pc:docMk/>
            <pc:sldMk cId="67746271" sldId="2147473699"/>
            <ac:spMk id="4" creationId="{FEB40E86-96DD-7002-066A-784713A27A1C}"/>
          </ac:spMkLst>
        </pc:spChg>
        <pc:picChg chg="add mod">
          <ac:chgData name="Tường SKHĐT" userId="ab9568c39a88b08a" providerId="LiveId" clId="{BE80218A-C675-4EC2-AD94-24A89D98EEE1}" dt="2023-06-05T04:40:43.278" v="44" actId="1076"/>
          <ac:picMkLst>
            <pc:docMk/>
            <pc:sldMk cId="67746271" sldId="2147473699"/>
            <ac:picMk id="3" creationId="{530083A4-E582-0190-B92E-13E604C98618}"/>
          </ac:picMkLst>
        </pc:picChg>
      </pc:sldChg>
      <pc:sldChg chg="modSp mod">
        <pc:chgData name="Tường SKHĐT" userId="ab9568c39a88b08a" providerId="LiveId" clId="{BE80218A-C675-4EC2-AD94-24A89D98EEE1}" dt="2023-06-07T08:25:45.548" v="2661" actId="14100"/>
        <pc:sldMkLst>
          <pc:docMk/>
          <pc:sldMk cId="1628374629" sldId="2147473704"/>
        </pc:sldMkLst>
        <pc:graphicFrameChg chg="mod modGraphic">
          <ac:chgData name="Tường SKHĐT" userId="ab9568c39a88b08a" providerId="LiveId" clId="{BE80218A-C675-4EC2-AD94-24A89D98EEE1}" dt="2023-06-07T08:25:45.548" v="2661" actId="14100"/>
          <ac:graphicFrameMkLst>
            <pc:docMk/>
            <pc:sldMk cId="1628374629" sldId="2147473704"/>
            <ac:graphicFrameMk id="2" creationId="{FBFFDBCD-49A2-B604-F9E9-B81E95DF4EB5}"/>
          </ac:graphicFrameMkLst>
        </pc:graphicFrameChg>
      </pc:sldChg>
      <pc:sldChg chg="add">
        <pc:chgData name="Tường SKHĐT" userId="ab9568c39a88b08a" providerId="LiveId" clId="{BE80218A-C675-4EC2-AD94-24A89D98EEE1}" dt="2023-06-06T03:23:42.647" v="1370"/>
        <pc:sldMkLst>
          <pc:docMk/>
          <pc:sldMk cId="3384527337" sldId="2147473719"/>
        </pc:sldMkLst>
      </pc:sldChg>
      <pc:sldChg chg="modSp mod">
        <pc:chgData name="Tường SKHĐT" userId="ab9568c39a88b08a" providerId="LiveId" clId="{BE80218A-C675-4EC2-AD94-24A89D98EEE1}" dt="2023-06-06T03:34:55.588" v="1428" actId="20577"/>
        <pc:sldMkLst>
          <pc:docMk/>
          <pc:sldMk cId="909716554" sldId="2147473727"/>
        </pc:sldMkLst>
        <pc:graphicFrameChg chg="modGraphic">
          <ac:chgData name="Tường SKHĐT" userId="ab9568c39a88b08a" providerId="LiveId" clId="{BE80218A-C675-4EC2-AD94-24A89D98EEE1}" dt="2023-06-06T03:34:55.588" v="1428" actId="20577"/>
          <ac:graphicFrameMkLst>
            <pc:docMk/>
            <pc:sldMk cId="909716554" sldId="2147473727"/>
            <ac:graphicFrameMk id="5" creationId="{B5E5335D-2EED-82AF-3A59-FAE8BB94EAE1}"/>
          </ac:graphicFrameMkLst>
        </pc:graphicFrameChg>
      </pc:sldChg>
      <pc:sldChg chg="addSp delSp modSp mod">
        <pc:chgData name="Tường SKHĐT" userId="ab9568c39a88b08a" providerId="LiveId" clId="{BE80218A-C675-4EC2-AD94-24A89D98EEE1}" dt="2023-06-06T03:27:18.665" v="1382" actId="14100"/>
        <pc:sldMkLst>
          <pc:docMk/>
          <pc:sldMk cId="2569991023" sldId="2147473733"/>
        </pc:sldMkLst>
        <pc:graphicFrameChg chg="modGraphic">
          <ac:chgData name="Tường SKHĐT" userId="ab9568c39a88b08a" providerId="LiveId" clId="{BE80218A-C675-4EC2-AD94-24A89D98EEE1}" dt="2023-06-06T03:24:05.257" v="1373" actId="20577"/>
          <ac:graphicFrameMkLst>
            <pc:docMk/>
            <pc:sldMk cId="2569991023" sldId="2147473733"/>
            <ac:graphicFrameMk id="8" creationId="{B5E5335D-2EED-82AF-3A59-FAE8BB94EAE1}"/>
          </ac:graphicFrameMkLst>
        </pc:graphicFrameChg>
        <pc:picChg chg="del">
          <ac:chgData name="Tường SKHĐT" userId="ab9568c39a88b08a" providerId="LiveId" clId="{BE80218A-C675-4EC2-AD94-24A89D98EEE1}" dt="2023-06-06T03:27:01.684" v="1374" actId="21"/>
          <ac:picMkLst>
            <pc:docMk/>
            <pc:sldMk cId="2569991023" sldId="2147473733"/>
            <ac:picMk id="2" creationId="{8AD87206-4C50-4DB5-8F5A-727327E5FF65}"/>
          </ac:picMkLst>
        </pc:picChg>
        <pc:picChg chg="add mod">
          <ac:chgData name="Tường SKHĐT" userId="ab9568c39a88b08a" providerId="LiveId" clId="{BE80218A-C675-4EC2-AD94-24A89D98EEE1}" dt="2023-06-06T03:27:18.665" v="1382" actId="14100"/>
          <ac:picMkLst>
            <pc:docMk/>
            <pc:sldMk cId="2569991023" sldId="2147473733"/>
            <ac:picMk id="4" creationId="{5045E7A8-8A58-D06A-A74A-C57274D706D5}"/>
          </ac:picMkLst>
        </pc:picChg>
      </pc:sldChg>
      <pc:sldChg chg="addSp delSp modSp mod">
        <pc:chgData name="Tường SKHĐT" userId="ab9568c39a88b08a" providerId="LiveId" clId="{BE80218A-C675-4EC2-AD94-24A89D98EEE1}" dt="2023-06-08T07:04:06.609" v="9427" actId="1076"/>
        <pc:sldMkLst>
          <pc:docMk/>
          <pc:sldMk cId="2648267713" sldId="2147473739"/>
        </pc:sldMkLst>
        <pc:spChg chg="add mod">
          <ac:chgData name="Tường SKHĐT" userId="ab9568c39a88b08a" providerId="LiveId" clId="{BE80218A-C675-4EC2-AD94-24A89D98EEE1}" dt="2023-06-08T07:03:55.606" v="9421" actId="1076"/>
          <ac:spMkLst>
            <pc:docMk/>
            <pc:sldMk cId="2648267713" sldId="2147473739"/>
            <ac:spMk id="8" creationId="{4EAC2DD8-1CA5-EDED-30C3-F2BDF6945EE2}"/>
          </ac:spMkLst>
        </pc:spChg>
        <pc:spChg chg="add mod">
          <ac:chgData name="Tường SKHĐT" userId="ab9568c39a88b08a" providerId="LiveId" clId="{BE80218A-C675-4EC2-AD94-24A89D98EEE1}" dt="2023-06-08T07:04:06.609" v="9427" actId="1076"/>
          <ac:spMkLst>
            <pc:docMk/>
            <pc:sldMk cId="2648267713" sldId="2147473739"/>
            <ac:spMk id="9" creationId="{11F1CF45-82C6-CE05-FF9E-D5ABD2C98FEA}"/>
          </ac:spMkLst>
        </pc:spChg>
        <pc:spChg chg="del">
          <ac:chgData name="Tường SKHĐT" userId="ab9568c39a88b08a" providerId="LiveId" clId="{BE80218A-C675-4EC2-AD94-24A89D98EEE1}" dt="2023-06-08T07:03:45.653" v="9419" actId="21"/>
          <ac:spMkLst>
            <pc:docMk/>
            <pc:sldMk cId="2648267713" sldId="2147473739"/>
            <ac:spMk id="19" creationId="{122A9A1C-AFFE-3821-B2D0-B1BF037AF2EA}"/>
          </ac:spMkLst>
        </pc:spChg>
        <pc:spChg chg="del">
          <ac:chgData name="Tường SKHĐT" userId="ab9568c39a88b08a" providerId="LiveId" clId="{BE80218A-C675-4EC2-AD94-24A89D98EEE1}" dt="2023-06-08T07:04:00.832" v="9425" actId="21"/>
          <ac:spMkLst>
            <pc:docMk/>
            <pc:sldMk cId="2648267713" sldId="2147473739"/>
            <ac:spMk id="20" creationId="{9EFE970E-0B98-B556-3A4B-E26C7CAD10CA}"/>
          </ac:spMkLst>
        </pc:spChg>
        <pc:spChg chg="mod">
          <ac:chgData name="Tường SKHĐT" userId="ab9568c39a88b08a" providerId="LiveId" clId="{BE80218A-C675-4EC2-AD94-24A89D98EEE1}" dt="2023-06-08T07:03:57.625" v="9424" actId="20577"/>
          <ac:spMkLst>
            <pc:docMk/>
            <pc:sldMk cId="2648267713" sldId="2147473739"/>
            <ac:spMk id="720" creationId="{00000000-0000-0000-0000-000000000000}"/>
          </ac:spMkLst>
        </pc:spChg>
      </pc:sldChg>
      <pc:sldChg chg="addSp delSp modSp mod">
        <pc:chgData name="Tường SKHĐT" userId="ab9568c39a88b08a" providerId="LiveId" clId="{BE80218A-C675-4EC2-AD94-24A89D98EEE1}" dt="2023-06-07T09:50:45.399" v="3502" actId="14100"/>
        <pc:sldMkLst>
          <pc:docMk/>
          <pc:sldMk cId="276788838" sldId="2147473743"/>
        </pc:sldMkLst>
        <pc:spChg chg="add mod">
          <ac:chgData name="Tường SKHĐT" userId="ab9568c39a88b08a" providerId="LiveId" clId="{BE80218A-C675-4EC2-AD94-24A89D98EEE1}" dt="2023-06-07T07:49:17.482" v="2502" actId="20577"/>
          <ac:spMkLst>
            <pc:docMk/>
            <pc:sldMk cId="276788838" sldId="2147473743"/>
            <ac:spMk id="3" creationId="{9363D8CF-2C85-3BF9-B7BB-9B85B15F2F06}"/>
          </ac:spMkLst>
        </pc:spChg>
        <pc:spChg chg="del">
          <ac:chgData name="Tường SKHĐT" userId="ab9568c39a88b08a" providerId="LiveId" clId="{BE80218A-C675-4EC2-AD94-24A89D98EEE1}" dt="2023-06-06T04:14:01.754" v="1436" actId="21"/>
          <ac:spMkLst>
            <pc:docMk/>
            <pc:sldMk cId="276788838" sldId="2147473743"/>
            <ac:spMk id="6" creationId="{AD8FCB44-5401-4810-551D-B0072A6956BA}"/>
          </ac:spMkLst>
        </pc:spChg>
        <pc:graphicFrameChg chg="del">
          <ac:chgData name="Tường SKHĐT" userId="ab9568c39a88b08a" providerId="LiveId" clId="{BE80218A-C675-4EC2-AD94-24A89D98EEE1}" dt="2023-06-06T04:13:55.831" v="1435" actId="21"/>
          <ac:graphicFrameMkLst>
            <pc:docMk/>
            <pc:sldMk cId="276788838" sldId="2147473743"/>
            <ac:graphicFrameMk id="2" creationId="{3E45EC01-8919-CDD1-BF49-FD790779B8D8}"/>
          </ac:graphicFrameMkLst>
        </pc:graphicFrameChg>
        <pc:graphicFrameChg chg="del mod">
          <ac:chgData name="Tường SKHĐT" userId="ab9568c39a88b08a" providerId="LiveId" clId="{BE80218A-C675-4EC2-AD94-24A89D98EEE1}" dt="2023-06-07T09:50:12.845" v="3500" actId="21"/>
          <ac:graphicFrameMkLst>
            <pc:docMk/>
            <pc:sldMk cId="276788838" sldId="2147473743"/>
            <ac:graphicFrameMk id="2" creationId="{8B00EFD9-B1AF-3C6C-9E3B-7ED8338C5732}"/>
          </ac:graphicFrameMkLst>
        </pc:graphicFrameChg>
        <pc:graphicFrameChg chg="del mod">
          <ac:chgData name="Tường SKHĐT" userId="ab9568c39a88b08a" providerId="LiveId" clId="{BE80218A-C675-4EC2-AD94-24A89D98EEE1}" dt="2023-06-06T04:17:40.090" v="1562" actId="21"/>
          <ac:graphicFrameMkLst>
            <pc:docMk/>
            <pc:sldMk cId="276788838" sldId="2147473743"/>
            <ac:graphicFrameMk id="4" creationId="{7797DB3D-F747-944F-3F8D-DB6F2A08D04E}"/>
          </ac:graphicFrameMkLst>
        </pc:graphicFrameChg>
        <pc:graphicFrameChg chg="mod">
          <ac:chgData name="Tường SKHĐT" userId="ab9568c39a88b08a" providerId="LiveId" clId="{BE80218A-C675-4EC2-AD94-24A89D98EEE1}" dt="2023-06-07T09:50:45.399" v="3502" actId="14100"/>
          <ac:graphicFrameMkLst>
            <pc:docMk/>
            <pc:sldMk cId="276788838" sldId="2147473743"/>
            <ac:graphicFrameMk id="4" creationId="{B8EEDDFA-4967-9BF6-F902-B3BFC6AFBC40}"/>
          </ac:graphicFrameMkLst>
        </pc:graphicFrameChg>
        <pc:graphicFrameChg chg="del">
          <ac:chgData name="Tường SKHĐT" userId="ab9568c39a88b08a" providerId="LiveId" clId="{BE80218A-C675-4EC2-AD94-24A89D98EEE1}" dt="2023-06-06T04:13:53.405" v="1434" actId="21"/>
          <ac:graphicFrameMkLst>
            <pc:docMk/>
            <pc:sldMk cId="276788838" sldId="2147473743"/>
            <ac:graphicFrameMk id="5" creationId="{A12A8C36-ABD5-9F37-3859-60C635D270CE}"/>
          </ac:graphicFrameMkLst>
        </pc:graphicFrameChg>
        <pc:graphicFrameChg chg="del mod">
          <ac:chgData name="Tường SKHĐT" userId="ab9568c39a88b08a" providerId="LiveId" clId="{BE80218A-C675-4EC2-AD94-24A89D98EEE1}" dt="2023-06-07T07:49:19.353" v="2503" actId="21"/>
          <ac:graphicFrameMkLst>
            <pc:docMk/>
            <pc:sldMk cId="276788838" sldId="2147473743"/>
            <ac:graphicFrameMk id="7" creationId="{5EEF4045-5BA4-E0B4-06C5-5927D8F5A4DD}"/>
          </ac:graphicFrameMkLst>
        </pc:graphicFrameChg>
      </pc:sldChg>
      <pc:sldChg chg="delSp mod">
        <pc:chgData name="Tường SKHĐT" userId="ab9568c39a88b08a" providerId="LiveId" clId="{BE80218A-C675-4EC2-AD94-24A89D98EEE1}" dt="2023-06-06T04:11:33.639" v="1430" actId="21"/>
        <pc:sldMkLst>
          <pc:docMk/>
          <pc:sldMk cId="2196586738" sldId="2147473745"/>
        </pc:sldMkLst>
        <pc:graphicFrameChg chg="del">
          <ac:chgData name="Tường SKHĐT" userId="ab9568c39a88b08a" providerId="LiveId" clId="{BE80218A-C675-4EC2-AD94-24A89D98EEE1}" dt="2023-06-06T04:11:33.639" v="1430" actId="21"/>
          <ac:graphicFrameMkLst>
            <pc:docMk/>
            <pc:sldMk cId="2196586738" sldId="2147473745"/>
            <ac:graphicFrameMk id="4" creationId="{9BF64355-BC13-9BDC-CD65-9C5D898845EB}"/>
          </ac:graphicFrameMkLst>
        </pc:graphicFrameChg>
      </pc:sldChg>
      <pc:sldChg chg="delSp modSp mod">
        <pc:chgData name="Tường SKHĐT" userId="ab9568c39a88b08a" providerId="LiveId" clId="{BE80218A-C675-4EC2-AD94-24A89D98EEE1}" dt="2023-06-08T02:51:01.072" v="8490" actId="14100"/>
        <pc:sldMkLst>
          <pc:docMk/>
          <pc:sldMk cId="3695198589" sldId="2147473750"/>
        </pc:sldMkLst>
        <pc:graphicFrameChg chg="mod">
          <ac:chgData name="Tường SKHĐT" userId="ab9568c39a88b08a" providerId="LiveId" clId="{BE80218A-C675-4EC2-AD94-24A89D98EEE1}" dt="2023-06-08T02:51:01.072" v="8490" actId="14100"/>
          <ac:graphicFrameMkLst>
            <pc:docMk/>
            <pc:sldMk cId="3695198589" sldId="2147473750"/>
            <ac:graphicFrameMk id="3" creationId="{A5FB3A6E-B32E-C0AF-953C-6DA986BEDA07}"/>
          </ac:graphicFrameMkLst>
        </pc:graphicFrameChg>
        <pc:graphicFrameChg chg="del">
          <ac:chgData name="Tường SKHĐT" userId="ab9568c39a88b08a" providerId="LiveId" clId="{BE80218A-C675-4EC2-AD94-24A89D98EEE1}" dt="2023-06-08T02:50:56.719" v="8488" actId="21"/>
          <ac:graphicFrameMkLst>
            <pc:docMk/>
            <pc:sldMk cId="3695198589" sldId="2147473750"/>
            <ac:graphicFrameMk id="5" creationId="{37679C12-F1EE-757F-A161-9FA9A285B624}"/>
          </ac:graphicFrameMkLst>
        </pc:graphicFrameChg>
      </pc:sldChg>
      <pc:sldChg chg="addSp delSp modSp mod">
        <pc:chgData name="Tường SKHĐT" userId="ab9568c39a88b08a" providerId="LiveId" clId="{BE80218A-C675-4EC2-AD94-24A89D98EEE1}" dt="2023-06-08T02:51:35.655" v="8495" actId="14100"/>
        <pc:sldMkLst>
          <pc:docMk/>
          <pc:sldMk cId="1980939669" sldId="2147473751"/>
        </pc:sldMkLst>
        <pc:graphicFrameChg chg="del">
          <ac:chgData name="Tường SKHĐT" userId="ab9568c39a88b08a" providerId="LiveId" clId="{BE80218A-C675-4EC2-AD94-24A89D98EEE1}" dt="2023-06-07T10:07:45.967" v="4503" actId="21"/>
          <ac:graphicFrameMkLst>
            <pc:docMk/>
            <pc:sldMk cId="1980939669" sldId="2147473751"/>
            <ac:graphicFrameMk id="2" creationId="{3BF8E8E2-FC7A-766D-120A-12F0136F960F}"/>
          </ac:graphicFrameMkLst>
        </pc:graphicFrameChg>
        <pc:graphicFrameChg chg="mod">
          <ac:chgData name="Tường SKHĐT" userId="ab9568c39a88b08a" providerId="LiveId" clId="{BE80218A-C675-4EC2-AD94-24A89D98EEE1}" dt="2023-06-08T02:51:35.655" v="8495" actId="14100"/>
          <ac:graphicFrameMkLst>
            <pc:docMk/>
            <pc:sldMk cId="1980939669" sldId="2147473751"/>
            <ac:graphicFrameMk id="2" creationId="{6DE5CCC4-3384-8F89-AA03-B8C7F3D92FDB}"/>
          </ac:graphicFrameMkLst>
        </pc:graphicFrameChg>
        <pc:graphicFrameChg chg="add mod modGraphic">
          <ac:chgData name="Tường SKHĐT" userId="ab9568c39a88b08a" providerId="LiveId" clId="{BE80218A-C675-4EC2-AD94-24A89D98EEE1}" dt="2023-06-07T10:15:44.187" v="5162" actId="20577"/>
          <ac:graphicFrameMkLst>
            <pc:docMk/>
            <pc:sldMk cId="1980939669" sldId="2147473751"/>
            <ac:graphicFrameMk id="4" creationId="{9F8BA5CC-ECD9-7097-9746-4017ADAF9292}"/>
          </ac:graphicFrameMkLst>
        </pc:graphicFrameChg>
        <pc:graphicFrameChg chg="del mod">
          <ac:chgData name="Tường SKHĐT" userId="ab9568c39a88b08a" providerId="LiveId" clId="{BE80218A-C675-4EC2-AD94-24A89D98EEE1}" dt="2023-06-08T02:51:29.898" v="8493" actId="21"/>
          <ac:graphicFrameMkLst>
            <pc:docMk/>
            <pc:sldMk cId="1980939669" sldId="2147473751"/>
            <ac:graphicFrameMk id="8" creationId="{9254A4BE-B2FE-9F80-DCFF-5586FAD9EA68}"/>
          </ac:graphicFrameMkLst>
        </pc:graphicFrameChg>
      </pc:sldChg>
      <pc:sldChg chg="addSp delSp modSp add mod">
        <pc:chgData name="Tường SKHĐT" userId="ab9568c39a88b08a" providerId="LiveId" clId="{BE80218A-C675-4EC2-AD94-24A89D98EEE1}" dt="2023-06-08T04:17:09.858" v="9394" actId="1076"/>
        <pc:sldMkLst>
          <pc:docMk/>
          <pc:sldMk cId="343020626" sldId="2147473755"/>
        </pc:sldMkLst>
        <pc:spChg chg="add mod">
          <ac:chgData name="Tường SKHĐT" userId="ab9568c39a88b08a" providerId="LiveId" clId="{BE80218A-C675-4EC2-AD94-24A89D98EEE1}" dt="2023-06-06T02:16:13.226" v="1106" actId="1076"/>
          <ac:spMkLst>
            <pc:docMk/>
            <pc:sldMk cId="343020626" sldId="2147473755"/>
            <ac:spMk id="2" creationId="{452B1F82-822B-EF70-0133-F9BAD474E8D9}"/>
          </ac:spMkLst>
        </pc:spChg>
        <pc:spChg chg="mod">
          <ac:chgData name="Tường SKHĐT" userId="ab9568c39a88b08a" providerId="LiveId" clId="{BE80218A-C675-4EC2-AD94-24A89D98EEE1}" dt="2023-06-06T02:16:06.266" v="1104" actId="1076"/>
          <ac:spMkLst>
            <pc:docMk/>
            <pc:sldMk cId="343020626" sldId="2147473755"/>
            <ac:spMk id="3" creationId="{E2060C7B-D80B-2D4B-6C50-1215E3EA3460}"/>
          </ac:spMkLst>
        </pc:spChg>
        <pc:graphicFrameChg chg="mod">
          <ac:chgData name="Tường SKHĐT" userId="ab9568c39a88b08a" providerId="LiveId" clId="{BE80218A-C675-4EC2-AD94-24A89D98EEE1}" dt="2023-06-08T04:17:09.858" v="9394" actId="1076"/>
          <ac:graphicFrameMkLst>
            <pc:docMk/>
            <pc:sldMk cId="343020626" sldId="2147473755"/>
            <ac:graphicFrameMk id="4" creationId="{95C94118-843D-0C4C-856C-08BC977115B6}"/>
          </ac:graphicFrameMkLst>
        </pc:graphicFrameChg>
        <pc:graphicFrameChg chg="del">
          <ac:chgData name="Tường SKHĐT" userId="ab9568c39a88b08a" providerId="LiveId" clId="{BE80218A-C675-4EC2-AD94-24A89D98EEE1}" dt="2023-06-06T02:15:24.073" v="1007" actId="21"/>
          <ac:graphicFrameMkLst>
            <pc:docMk/>
            <pc:sldMk cId="343020626" sldId="2147473755"/>
            <ac:graphicFrameMk id="4" creationId="{9C70833E-C9DD-DCB6-D8B1-95B01701F187}"/>
          </ac:graphicFrameMkLst>
        </pc:graphicFrameChg>
        <pc:graphicFrameChg chg="del mod">
          <ac:chgData name="Tường SKHĐT" userId="ab9568c39a88b08a" providerId="LiveId" clId="{BE80218A-C675-4EC2-AD94-24A89D98EEE1}" dt="2023-06-06T02:17:28.842" v="1109"/>
          <ac:graphicFrameMkLst>
            <pc:docMk/>
            <pc:sldMk cId="343020626" sldId="2147473755"/>
            <ac:graphicFrameMk id="6" creationId="{68DAD4BC-F07E-4947-B63A-FF0EB81D1A70}"/>
          </ac:graphicFrameMkLst>
        </pc:graphicFrameChg>
        <pc:graphicFrameChg chg="del mod">
          <ac:chgData name="Tường SKHĐT" userId="ab9568c39a88b08a" providerId="LiveId" clId="{BE80218A-C675-4EC2-AD94-24A89D98EEE1}" dt="2023-06-06T02:40:25.067" v="1231" actId="21"/>
          <ac:graphicFrameMkLst>
            <pc:docMk/>
            <pc:sldMk cId="343020626" sldId="2147473755"/>
            <ac:graphicFrameMk id="7" creationId="{FE3FFE1B-175D-55EF-4774-BC0D059B0060}"/>
          </ac:graphicFrameMkLst>
        </pc:graphicFrameChg>
        <pc:graphicFrameChg chg="del mod">
          <ac:chgData name="Tường SKHĐT" userId="ab9568c39a88b08a" providerId="LiveId" clId="{BE80218A-C675-4EC2-AD94-24A89D98EEE1}" dt="2023-06-06T02:41:58.939" v="1235" actId="21"/>
          <ac:graphicFrameMkLst>
            <pc:docMk/>
            <pc:sldMk cId="343020626" sldId="2147473755"/>
            <ac:graphicFrameMk id="9" creationId="{0072D1C0-CF4B-362D-AB38-D47A8817734D}"/>
          </ac:graphicFrameMkLst>
        </pc:graphicFrameChg>
        <pc:graphicFrameChg chg="del mod">
          <ac:chgData name="Tường SKHĐT" userId="ab9568c39a88b08a" providerId="LiveId" clId="{BE80218A-C675-4EC2-AD94-24A89D98EEE1}" dt="2023-06-06T02:52:17.662" v="1241" actId="21"/>
          <ac:graphicFrameMkLst>
            <pc:docMk/>
            <pc:sldMk cId="343020626" sldId="2147473755"/>
            <ac:graphicFrameMk id="10" creationId="{B1EC7158-AB18-000F-CD2D-1BEB4BA9C9BE}"/>
          </ac:graphicFrameMkLst>
        </pc:graphicFrameChg>
        <pc:graphicFrameChg chg="del mod">
          <ac:chgData name="Tường SKHĐT" userId="ab9568c39a88b08a" providerId="LiveId" clId="{BE80218A-C675-4EC2-AD94-24A89D98EEE1}" dt="2023-06-06T02:52:52.174" v="1243" actId="21"/>
          <ac:graphicFrameMkLst>
            <pc:docMk/>
            <pc:sldMk cId="343020626" sldId="2147473755"/>
            <ac:graphicFrameMk id="11" creationId="{85374CFF-1E4C-94C7-79FE-5AF31AB75AF2}"/>
          </ac:graphicFrameMkLst>
        </pc:graphicFrameChg>
        <pc:graphicFrameChg chg="del">
          <ac:chgData name="Tường SKHĐT" userId="ab9568c39a88b08a" providerId="LiveId" clId="{BE80218A-C675-4EC2-AD94-24A89D98EEE1}" dt="2023-06-06T02:52:57.443" v="1244"/>
          <ac:graphicFrameMkLst>
            <pc:docMk/>
            <pc:sldMk cId="343020626" sldId="2147473755"/>
            <ac:graphicFrameMk id="12" creationId="{A9B41F79-431A-CAD6-D12E-85702BB1B6C6}"/>
          </ac:graphicFrameMkLst>
        </pc:graphicFrameChg>
        <pc:graphicFrameChg chg="del mod">
          <ac:chgData name="Tường SKHĐT" userId="ab9568c39a88b08a" providerId="LiveId" clId="{BE80218A-C675-4EC2-AD94-24A89D98EEE1}" dt="2023-06-08T04:16:24.360" v="9392" actId="21"/>
          <ac:graphicFrameMkLst>
            <pc:docMk/>
            <pc:sldMk cId="343020626" sldId="2147473755"/>
            <ac:graphicFrameMk id="13" creationId="{064F88F6-DCD9-B41C-7CAA-E275BC821833}"/>
          </ac:graphicFrameMkLst>
        </pc:graphicFrameChg>
        <pc:cxnChg chg="mod">
          <ac:chgData name="Tường SKHĐT" userId="ab9568c39a88b08a" providerId="LiveId" clId="{BE80218A-C675-4EC2-AD94-24A89D98EEE1}" dt="2023-06-06T02:16:10.490" v="1105" actId="1076"/>
          <ac:cxnSpMkLst>
            <pc:docMk/>
            <pc:sldMk cId="343020626" sldId="2147473755"/>
            <ac:cxnSpMk id="5" creationId="{B3AFD0A1-EC23-2CD8-C933-80EDD073EC21}"/>
          </ac:cxnSpMkLst>
        </pc:cxnChg>
      </pc:sldChg>
      <pc:sldChg chg="del">
        <pc:chgData name="Tường SKHĐT" userId="ab9568c39a88b08a" providerId="LiveId" clId="{BE80218A-C675-4EC2-AD94-24A89D98EEE1}" dt="2023-06-05T04:28:28.723" v="1" actId="2696"/>
        <pc:sldMkLst>
          <pc:docMk/>
          <pc:sldMk cId="1826314785" sldId="2147473755"/>
        </pc:sldMkLst>
      </pc:sldChg>
      <pc:sldChg chg="delSp modSp add del mod">
        <pc:chgData name="Tường SKHĐT" userId="ab9568c39a88b08a" providerId="LiveId" clId="{BE80218A-C675-4EC2-AD94-24A89D98EEE1}" dt="2023-06-06T03:19:29.310" v="1330" actId="2696"/>
        <pc:sldMkLst>
          <pc:docMk/>
          <pc:sldMk cId="1764470730" sldId="2147473756"/>
        </pc:sldMkLst>
        <pc:graphicFrameChg chg="mod">
          <ac:chgData name="Tường SKHĐT" userId="ab9568c39a88b08a" providerId="LiveId" clId="{BE80218A-C675-4EC2-AD94-24A89D98EEE1}" dt="2023-06-06T02:18:48.146" v="1120" actId="1076"/>
          <ac:graphicFrameMkLst>
            <pc:docMk/>
            <pc:sldMk cId="1764470730" sldId="2147473756"/>
            <ac:graphicFrameMk id="4" creationId="{6C7EF0C9-EE1D-B5FA-D635-BB517D0F253B}"/>
          </ac:graphicFrameMkLst>
        </pc:graphicFrameChg>
        <pc:graphicFrameChg chg="del">
          <ac:chgData name="Tường SKHĐT" userId="ab9568c39a88b08a" providerId="LiveId" clId="{BE80218A-C675-4EC2-AD94-24A89D98EEE1}" dt="2023-06-06T02:18:04.514" v="1115" actId="21"/>
          <ac:graphicFrameMkLst>
            <pc:docMk/>
            <pc:sldMk cId="1764470730" sldId="2147473756"/>
            <ac:graphicFrameMk id="7" creationId="{FE3FFE1B-175D-55EF-4774-BC0D059B0060}"/>
          </ac:graphicFrameMkLst>
        </pc:graphicFrameChg>
      </pc:sldChg>
      <pc:sldChg chg="del">
        <pc:chgData name="Tường SKHĐT" userId="ab9568c39a88b08a" providerId="LiveId" clId="{BE80218A-C675-4EC2-AD94-24A89D98EEE1}" dt="2023-06-05T04:29:23.093" v="2" actId="2696"/>
        <pc:sldMkLst>
          <pc:docMk/>
          <pc:sldMk cId="2627039055" sldId="2147473756"/>
        </pc:sldMkLst>
      </pc:sldChg>
      <pc:sldChg chg="delSp modSp add del mod">
        <pc:chgData name="Tường SKHĐT" userId="ab9568c39a88b08a" providerId="LiveId" clId="{BE80218A-C675-4EC2-AD94-24A89D98EEE1}" dt="2023-06-06T03:19:29.310" v="1330" actId="2696"/>
        <pc:sldMkLst>
          <pc:docMk/>
          <pc:sldMk cId="4169077682" sldId="2147473757"/>
        </pc:sldMkLst>
        <pc:graphicFrameChg chg="del mod">
          <ac:chgData name="Tường SKHĐT" userId="ab9568c39a88b08a" providerId="LiveId" clId="{BE80218A-C675-4EC2-AD94-24A89D98EEE1}" dt="2023-06-06T02:18:31.170" v="1119"/>
          <ac:graphicFrameMkLst>
            <pc:docMk/>
            <pc:sldMk cId="4169077682" sldId="2147473757"/>
            <ac:graphicFrameMk id="4" creationId="{04EC9805-83CF-7636-1772-EAA5ED5A39A5}"/>
          </ac:graphicFrameMkLst>
        </pc:graphicFrameChg>
        <pc:graphicFrameChg chg="mod">
          <ac:chgData name="Tường SKHĐT" userId="ab9568c39a88b08a" providerId="LiveId" clId="{BE80218A-C675-4EC2-AD94-24A89D98EEE1}" dt="2023-06-06T02:19:11.300" v="1121" actId="1076"/>
          <ac:graphicFrameMkLst>
            <pc:docMk/>
            <pc:sldMk cId="4169077682" sldId="2147473757"/>
            <ac:graphicFrameMk id="6" creationId="{7837E8F9-FA8E-E582-2A17-4181960F6115}"/>
          </ac:graphicFrameMkLst>
        </pc:graphicFrameChg>
        <pc:graphicFrameChg chg="del">
          <ac:chgData name="Tường SKHĐT" userId="ab9568c39a88b08a" providerId="LiveId" clId="{BE80218A-C675-4EC2-AD94-24A89D98EEE1}" dt="2023-06-06T02:18:06.884" v="1116" actId="21"/>
          <ac:graphicFrameMkLst>
            <pc:docMk/>
            <pc:sldMk cId="4169077682" sldId="2147473757"/>
            <ac:graphicFrameMk id="7" creationId="{FE3FFE1B-175D-55EF-4774-BC0D059B0060}"/>
          </ac:graphicFrameMkLst>
        </pc:graphicFrameChg>
      </pc:sldChg>
      <pc:sldChg chg="addSp delSp modSp add mod">
        <pc:chgData name="Tường SKHĐT" userId="ab9568c39a88b08a" providerId="LiveId" clId="{BE80218A-C675-4EC2-AD94-24A89D98EEE1}" dt="2023-06-06T02:27:55.100" v="1134" actId="14100"/>
        <pc:sldMkLst>
          <pc:docMk/>
          <pc:sldMk cId="386469802" sldId="2147473758"/>
        </pc:sldMkLst>
        <pc:graphicFrameChg chg="del mod">
          <ac:chgData name="Tường SKHĐT" userId="ab9568c39a88b08a" providerId="LiveId" clId="{BE80218A-C675-4EC2-AD94-24A89D98EEE1}" dt="2023-06-06T02:27:18.119" v="1126" actId="21"/>
          <ac:graphicFrameMkLst>
            <pc:docMk/>
            <pc:sldMk cId="386469802" sldId="2147473758"/>
            <ac:graphicFrameMk id="2" creationId="{1B2412BD-5748-B79C-C417-2A3FCFDE6996}"/>
          </ac:graphicFrameMkLst>
        </pc:graphicFrameChg>
        <pc:graphicFrameChg chg="mod">
          <ac:chgData name="Tường SKHĐT" userId="ab9568c39a88b08a" providerId="LiveId" clId="{BE80218A-C675-4EC2-AD94-24A89D98EEE1}" dt="2023-06-06T02:27:27.178" v="1127" actId="1076"/>
          <ac:graphicFrameMkLst>
            <pc:docMk/>
            <pc:sldMk cId="386469802" sldId="2147473758"/>
            <ac:graphicFrameMk id="3" creationId="{9161E749-BAFA-2F4E-E9B8-06971E218D44}"/>
          </ac:graphicFrameMkLst>
        </pc:graphicFrameChg>
        <pc:graphicFrameChg chg="add mod modGraphic">
          <ac:chgData name="Tường SKHĐT" userId="ab9568c39a88b08a" providerId="LiveId" clId="{BE80218A-C675-4EC2-AD94-24A89D98EEE1}" dt="2023-06-06T02:27:55.100" v="1134" actId="14100"/>
          <ac:graphicFrameMkLst>
            <pc:docMk/>
            <pc:sldMk cId="386469802" sldId="2147473758"/>
            <ac:graphicFrameMk id="4" creationId="{DDDE20E6-5F04-B963-24B0-A55C08273FC7}"/>
          </ac:graphicFrameMkLst>
        </pc:graphicFrameChg>
        <pc:graphicFrameChg chg="del">
          <ac:chgData name="Tường SKHĐT" userId="ab9568c39a88b08a" providerId="LiveId" clId="{BE80218A-C675-4EC2-AD94-24A89D98EEE1}" dt="2023-06-06T02:26:44.997" v="1123" actId="21"/>
          <ac:graphicFrameMkLst>
            <pc:docMk/>
            <pc:sldMk cId="386469802" sldId="2147473758"/>
            <ac:graphicFrameMk id="5" creationId="{4F59E573-56EE-83D4-0602-CC0366BF17C8}"/>
          </ac:graphicFrameMkLst>
        </pc:graphicFrameChg>
        <pc:graphicFrameChg chg="del">
          <ac:chgData name="Tường SKHĐT" userId="ab9568c39a88b08a" providerId="LiveId" clId="{BE80218A-C675-4EC2-AD94-24A89D98EEE1}" dt="2023-06-06T02:26:46.756" v="1124" actId="21"/>
          <ac:graphicFrameMkLst>
            <pc:docMk/>
            <pc:sldMk cId="386469802" sldId="2147473758"/>
            <ac:graphicFrameMk id="6" creationId="{47027231-95EF-C8CE-4215-B126B807487B}"/>
          </ac:graphicFrameMkLst>
        </pc:graphicFrameChg>
      </pc:sldChg>
      <pc:sldChg chg="delSp modSp add mod">
        <pc:chgData name="Tường SKHĐT" userId="ab9568c39a88b08a" providerId="LiveId" clId="{BE80218A-C675-4EC2-AD94-24A89D98EEE1}" dt="2023-06-08T07:21:13.039" v="9430" actId="1076"/>
        <pc:sldMkLst>
          <pc:docMk/>
          <pc:sldMk cId="3587433405" sldId="2147473759"/>
        </pc:sldMkLst>
        <pc:spChg chg="mod">
          <ac:chgData name="Tường SKHĐT" userId="ab9568c39a88b08a" providerId="LiveId" clId="{BE80218A-C675-4EC2-AD94-24A89D98EEE1}" dt="2023-06-08T04:22:00.918" v="9416" actId="1076"/>
          <ac:spMkLst>
            <pc:docMk/>
            <pc:sldMk cId="3587433405" sldId="2147473759"/>
            <ac:spMk id="7" creationId="{C04F4D96-45AD-953D-5897-218BC956CD36}"/>
          </ac:spMkLst>
        </pc:spChg>
        <pc:graphicFrameChg chg="del mod">
          <ac:chgData name="Tường SKHĐT" userId="ab9568c39a88b08a" providerId="LiveId" clId="{BE80218A-C675-4EC2-AD94-24A89D98EEE1}" dt="2023-06-08T07:20:43.214" v="9429" actId="21"/>
          <ac:graphicFrameMkLst>
            <pc:docMk/>
            <pc:sldMk cId="3587433405" sldId="2147473759"/>
            <ac:graphicFrameMk id="2" creationId="{6F8F49D4-2436-117D-B1E9-E215BEAA43C1}"/>
          </ac:graphicFrameMkLst>
        </pc:graphicFrameChg>
        <pc:graphicFrameChg chg="del mod">
          <ac:chgData name="Tường SKHĐT" userId="ab9568c39a88b08a" providerId="LiveId" clId="{BE80218A-C675-4EC2-AD94-24A89D98EEE1}" dt="2023-06-06T02:31:45.914" v="1139" actId="21"/>
          <ac:graphicFrameMkLst>
            <pc:docMk/>
            <pc:sldMk cId="3587433405" sldId="2147473759"/>
            <ac:graphicFrameMk id="2" creationId="{F0EEF286-BB80-E94B-3E57-F0396FE36E4F}"/>
          </ac:graphicFrameMkLst>
        </pc:graphicFrameChg>
        <pc:graphicFrameChg chg="mod">
          <ac:chgData name="Tường SKHĐT" userId="ab9568c39a88b08a" providerId="LiveId" clId="{BE80218A-C675-4EC2-AD94-24A89D98EEE1}" dt="2023-06-08T07:21:13.039" v="9430" actId="1076"/>
          <ac:graphicFrameMkLst>
            <pc:docMk/>
            <pc:sldMk cId="3587433405" sldId="2147473759"/>
            <ac:graphicFrameMk id="3" creationId="{2760F815-951E-FC06-501B-7656495C350C}"/>
          </ac:graphicFrameMkLst>
        </pc:graphicFrameChg>
        <pc:graphicFrameChg chg="del mod">
          <ac:chgData name="Tường SKHĐT" userId="ab9568c39a88b08a" providerId="LiveId" clId="{BE80218A-C675-4EC2-AD94-24A89D98EEE1}" dt="2023-06-08T04:21:47.012" v="9414" actId="21"/>
          <ac:graphicFrameMkLst>
            <pc:docMk/>
            <pc:sldMk cId="3587433405" sldId="2147473759"/>
            <ac:graphicFrameMk id="4" creationId="{1C3949F6-165B-37DA-0AD7-A2E90FD73E1C}"/>
          </ac:graphicFrameMkLst>
        </pc:graphicFrameChg>
        <pc:graphicFrameChg chg="del">
          <ac:chgData name="Tường SKHĐT" userId="ab9568c39a88b08a" providerId="LiveId" clId="{BE80218A-C675-4EC2-AD94-24A89D98EEE1}" dt="2023-06-06T02:28:53.403" v="1137" actId="21"/>
          <ac:graphicFrameMkLst>
            <pc:docMk/>
            <pc:sldMk cId="3587433405" sldId="2147473759"/>
            <ac:graphicFrameMk id="8" creationId="{B5E5335D-2EED-82AF-3A59-FAE8BB94EAE1}"/>
          </ac:graphicFrameMkLst>
        </pc:graphicFrameChg>
        <pc:picChg chg="del">
          <ac:chgData name="Tường SKHĐT" userId="ab9568c39a88b08a" providerId="LiveId" clId="{BE80218A-C675-4EC2-AD94-24A89D98EEE1}" dt="2023-06-06T02:28:51.630" v="1136" actId="21"/>
          <ac:picMkLst>
            <pc:docMk/>
            <pc:sldMk cId="3587433405" sldId="2147473759"/>
            <ac:picMk id="3" creationId="{0B7CA021-09F3-1F33-484C-C8E22C0125A5}"/>
          </ac:picMkLst>
        </pc:picChg>
      </pc:sldChg>
      <pc:sldChg chg="delSp modSp add mod">
        <pc:chgData name="Tường SKHĐT" userId="ab9568c39a88b08a" providerId="LiveId" clId="{BE80218A-C675-4EC2-AD94-24A89D98EEE1}" dt="2023-06-08T07:23:09.995" v="9435" actId="1076"/>
        <pc:sldMkLst>
          <pc:docMk/>
          <pc:sldMk cId="3141092668" sldId="2147473760"/>
        </pc:sldMkLst>
        <pc:graphicFrameChg chg="del mod">
          <ac:chgData name="Tường SKHĐT" userId="ab9568c39a88b08a" providerId="LiveId" clId="{BE80218A-C675-4EC2-AD94-24A89D98EEE1}" dt="2023-06-08T07:23:01.470" v="9434" actId="21"/>
          <ac:graphicFrameMkLst>
            <pc:docMk/>
            <pc:sldMk cId="3141092668" sldId="2147473760"/>
            <ac:graphicFrameMk id="2" creationId="{BCE5C303-D171-1C6C-BB48-0A21E49A6976}"/>
          </ac:graphicFrameMkLst>
        </pc:graphicFrameChg>
        <pc:graphicFrameChg chg="mod">
          <ac:chgData name="Tường SKHĐT" userId="ab9568c39a88b08a" providerId="LiveId" clId="{BE80218A-C675-4EC2-AD94-24A89D98EEE1}" dt="2023-06-08T07:23:09.995" v="9435" actId="1076"/>
          <ac:graphicFrameMkLst>
            <pc:docMk/>
            <pc:sldMk cId="3141092668" sldId="2147473760"/>
            <ac:graphicFrameMk id="3" creationId="{D474D3A0-22D3-0099-7CE5-D9A299F3D372}"/>
          </ac:graphicFrameMkLst>
        </pc:graphicFrameChg>
        <pc:picChg chg="del">
          <ac:chgData name="Tường SKHĐT" userId="ab9568c39a88b08a" providerId="LiveId" clId="{BE80218A-C675-4EC2-AD94-24A89D98EEE1}" dt="2023-06-06T02:32:54.522" v="1142" actId="478"/>
          <ac:picMkLst>
            <pc:docMk/>
            <pc:sldMk cId="3141092668" sldId="2147473760"/>
            <ac:picMk id="5" creationId="{D7D192ED-A090-3C6F-3CA7-2C3CDBC37FF3}"/>
          </ac:picMkLst>
        </pc:picChg>
        <pc:picChg chg="del">
          <ac:chgData name="Tường SKHĐT" userId="ab9568c39a88b08a" providerId="LiveId" clId="{BE80218A-C675-4EC2-AD94-24A89D98EEE1}" dt="2023-06-06T02:32:54.522" v="1142" actId="478"/>
          <ac:picMkLst>
            <pc:docMk/>
            <pc:sldMk cId="3141092668" sldId="2147473760"/>
            <ac:picMk id="7" creationId="{455CD825-D54D-FCEA-81AF-11182774D584}"/>
          </ac:picMkLst>
        </pc:picChg>
        <pc:picChg chg="del">
          <ac:chgData name="Tường SKHĐT" userId="ab9568c39a88b08a" providerId="LiveId" clId="{BE80218A-C675-4EC2-AD94-24A89D98EEE1}" dt="2023-06-06T02:32:54.522" v="1142" actId="478"/>
          <ac:picMkLst>
            <pc:docMk/>
            <pc:sldMk cId="3141092668" sldId="2147473760"/>
            <ac:picMk id="9" creationId="{7246F3BF-F456-CF2C-6AA7-82B046A0EB87}"/>
          </ac:picMkLst>
        </pc:picChg>
      </pc:sldChg>
      <pc:sldChg chg="addSp delSp modSp add del mod">
        <pc:chgData name="Tường SKHĐT" userId="ab9568c39a88b08a" providerId="LiveId" clId="{BE80218A-C675-4EC2-AD94-24A89D98EEE1}" dt="2023-06-06T02:54:02.109" v="1247" actId="2696"/>
        <pc:sldMkLst>
          <pc:docMk/>
          <pc:sldMk cId="3087959481" sldId="2147473761"/>
        </pc:sldMkLst>
        <pc:spChg chg="mod">
          <ac:chgData name="Tường SKHĐT" userId="ab9568c39a88b08a" providerId="LiveId" clId="{BE80218A-C675-4EC2-AD94-24A89D98EEE1}" dt="2023-06-06T02:36:45.266" v="1214" actId="1076"/>
          <ac:spMkLst>
            <pc:docMk/>
            <pc:sldMk cId="3087959481" sldId="2147473761"/>
            <ac:spMk id="2" creationId="{452B1F82-822B-EF70-0133-F9BAD474E8D9}"/>
          </ac:spMkLst>
        </pc:spChg>
        <pc:graphicFrameChg chg="add del mod">
          <ac:chgData name="Tường SKHĐT" userId="ab9568c39a88b08a" providerId="LiveId" clId="{BE80218A-C675-4EC2-AD94-24A89D98EEE1}" dt="2023-06-06T02:35:07.128" v="1147"/>
          <ac:graphicFrameMkLst>
            <pc:docMk/>
            <pc:sldMk cId="3087959481" sldId="2147473761"/>
            <ac:graphicFrameMk id="4" creationId="{FE14CC11-D2E1-1DA4-E9A9-A2751EFE3C6C}"/>
          </ac:graphicFrameMkLst>
        </pc:graphicFrameChg>
        <pc:graphicFrameChg chg="del">
          <ac:chgData name="Tường SKHĐT" userId="ab9568c39a88b08a" providerId="LiveId" clId="{BE80218A-C675-4EC2-AD94-24A89D98EEE1}" dt="2023-06-06T02:33:38.890" v="1145" actId="21"/>
          <ac:graphicFrameMkLst>
            <pc:docMk/>
            <pc:sldMk cId="3087959481" sldId="2147473761"/>
            <ac:graphicFrameMk id="6" creationId="{7837E8F9-FA8E-E582-2A17-4181960F6115}"/>
          </ac:graphicFrameMkLst>
        </pc:graphicFrameChg>
        <pc:graphicFrameChg chg="del mod">
          <ac:chgData name="Tường SKHĐT" userId="ab9568c39a88b08a" providerId="LiveId" clId="{BE80218A-C675-4EC2-AD94-24A89D98EEE1}" dt="2023-06-06T02:35:23.029" v="1149" actId="21"/>
          <ac:graphicFrameMkLst>
            <pc:docMk/>
            <pc:sldMk cId="3087959481" sldId="2147473761"/>
            <ac:graphicFrameMk id="7" creationId="{BE62439C-8D7F-3C49-7CE3-77C855AF8E7A}"/>
          </ac:graphicFrameMkLst>
        </pc:graphicFrameChg>
        <pc:graphicFrameChg chg="add del mod">
          <ac:chgData name="Tường SKHĐT" userId="ab9568c39a88b08a" providerId="LiveId" clId="{BE80218A-C675-4EC2-AD94-24A89D98EEE1}" dt="2023-06-06T02:35:26.848" v="1151"/>
          <ac:graphicFrameMkLst>
            <pc:docMk/>
            <pc:sldMk cId="3087959481" sldId="2147473761"/>
            <ac:graphicFrameMk id="9" creationId="{CC406B26-1BCB-A221-A1E2-2AFB3D7F611D}"/>
          </ac:graphicFrameMkLst>
        </pc:graphicFrameChg>
        <pc:graphicFrameChg chg="mod">
          <ac:chgData name="Tường SKHĐT" userId="ab9568c39a88b08a" providerId="LiveId" clId="{BE80218A-C675-4EC2-AD94-24A89D98EEE1}" dt="2023-06-06T02:35:54.371" v="1155" actId="1076"/>
          <ac:graphicFrameMkLst>
            <pc:docMk/>
            <pc:sldMk cId="3087959481" sldId="2147473761"/>
            <ac:graphicFrameMk id="10" creationId="{4ED5CA74-7A73-D5D2-5831-937CD495A474}"/>
          </ac:graphicFrameMkLst>
        </pc:graphicFrameChg>
      </pc:sldChg>
      <pc:sldChg chg="delSp modSp add del mod">
        <pc:chgData name="Tường SKHĐT" userId="ab9568c39a88b08a" providerId="LiveId" clId="{BE80218A-C675-4EC2-AD94-24A89D98EEE1}" dt="2023-06-06T02:54:02.109" v="1247" actId="2696"/>
        <pc:sldMkLst>
          <pc:docMk/>
          <pc:sldMk cId="1782166848" sldId="2147473762"/>
        </pc:sldMkLst>
        <pc:spChg chg="mod">
          <ac:chgData name="Tường SKHĐT" userId="ab9568c39a88b08a" providerId="LiveId" clId="{BE80218A-C675-4EC2-AD94-24A89D98EEE1}" dt="2023-06-06T02:38:06.245" v="1229" actId="1076"/>
          <ac:spMkLst>
            <pc:docMk/>
            <pc:sldMk cId="1782166848" sldId="2147473762"/>
            <ac:spMk id="2" creationId="{452B1F82-822B-EF70-0133-F9BAD474E8D9}"/>
          </ac:spMkLst>
        </pc:spChg>
        <pc:graphicFrameChg chg="mod">
          <ac:chgData name="Tường SKHĐT" userId="ab9568c39a88b08a" providerId="LiveId" clId="{BE80218A-C675-4EC2-AD94-24A89D98EEE1}" dt="2023-06-06T02:37:53.619" v="1219" actId="1076"/>
          <ac:graphicFrameMkLst>
            <pc:docMk/>
            <pc:sldMk cId="1782166848" sldId="2147473762"/>
            <ac:graphicFrameMk id="4" creationId="{9E1BAABF-75B5-D4AF-4780-F6A9C50AC043}"/>
          </ac:graphicFrameMkLst>
        </pc:graphicFrameChg>
        <pc:graphicFrameChg chg="del">
          <ac:chgData name="Tường SKHĐT" userId="ab9568c39a88b08a" providerId="LiveId" clId="{BE80218A-C675-4EC2-AD94-24A89D98EEE1}" dt="2023-06-06T02:37:18.195" v="1216" actId="21"/>
          <ac:graphicFrameMkLst>
            <pc:docMk/>
            <pc:sldMk cId="1782166848" sldId="2147473762"/>
            <ac:graphicFrameMk id="10" creationId="{4ED5CA74-7A73-D5D2-5831-937CD495A474}"/>
          </ac:graphicFrameMkLst>
        </pc:graphicFrameChg>
      </pc:sldChg>
      <pc:sldChg chg="add del">
        <pc:chgData name="Tường SKHĐT" userId="ab9568c39a88b08a" providerId="LiveId" clId="{BE80218A-C675-4EC2-AD94-24A89D98EEE1}" dt="2023-06-06T03:19:29.310" v="1330" actId="2696"/>
        <pc:sldMkLst>
          <pc:docMk/>
          <pc:sldMk cId="1932453794" sldId="2147473763"/>
        </pc:sldMkLst>
      </pc:sldChg>
      <pc:sldChg chg="add del">
        <pc:chgData name="Tường SKHĐT" userId="ab9568c39a88b08a" providerId="LiveId" clId="{BE80218A-C675-4EC2-AD94-24A89D98EEE1}" dt="2023-06-06T02:53:26.693" v="1246" actId="2696"/>
        <pc:sldMkLst>
          <pc:docMk/>
          <pc:sldMk cId="86731802" sldId="2147473764"/>
        </pc:sldMkLst>
      </pc:sldChg>
      <pc:sldChg chg="add del">
        <pc:chgData name="Tường SKHĐT" userId="ab9568c39a88b08a" providerId="LiveId" clId="{BE80218A-C675-4EC2-AD94-24A89D98EEE1}" dt="2023-06-06T03:17:17.876" v="1329" actId="2696"/>
        <pc:sldMkLst>
          <pc:docMk/>
          <pc:sldMk cId="3945257551" sldId="2147473765"/>
        </pc:sldMkLst>
      </pc:sldChg>
      <pc:sldChg chg="addSp delSp modSp add mod">
        <pc:chgData name="Tường SKHĐT" userId="ab9568c39a88b08a" providerId="LiveId" clId="{BE80218A-C675-4EC2-AD94-24A89D98EEE1}" dt="2023-06-06T03:11:55.354" v="1310" actId="14100"/>
        <pc:sldMkLst>
          <pc:docMk/>
          <pc:sldMk cId="4255944904" sldId="2147473766"/>
        </pc:sldMkLst>
        <pc:spChg chg="del">
          <ac:chgData name="Tường SKHĐT" userId="ab9568c39a88b08a" providerId="LiveId" clId="{BE80218A-C675-4EC2-AD94-24A89D98EEE1}" dt="2023-06-06T03:10:04.576" v="1273" actId="21"/>
          <ac:spMkLst>
            <pc:docMk/>
            <pc:sldMk cId="4255944904" sldId="2147473766"/>
            <ac:spMk id="2" creationId="{452B1F82-822B-EF70-0133-F9BAD474E8D9}"/>
          </ac:spMkLst>
        </pc:spChg>
        <pc:graphicFrameChg chg="add mod">
          <ac:chgData name="Tường SKHĐT" userId="ab9568c39a88b08a" providerId="LiveId" clId="{BE80218A-C675-4EC2-AD94-24A89D98EEE1}" dt="2023-06-06T03:11:55.354" v="1310" actId="14100"/>
          <ac:graphicFrameMkLst>
            <pc:docMk/>
            <pc:sldMk cId="4255944904" sldId="2147473766"/>
            <ac:graphicFrameMk id="4" creationId="{365C2945-1321-97F7-6CEB-6B75DD3AAE2D}"/>
          </ac:graphicFrameMkLst>
        </pc:graphicFrameChg>
        <pc:graphicFrameChg chg="del">
          <ac:chgData name="Tường SKHĐT" userId="ab9568c39a88b08a" providerId="LiveId" clId="{BE80218A-C675-4EC2-AD94-24A89D98EEE1}" dt="2023-06-06T03:09:27.436" v="1261" actId="21"/>
          <ac:graphicFrameMkLst>
            <pc:docMk/>
            <pc:sldMk cId="4255944904" sldId="2147473766"/>
            <ac:graphicFrameMk id="13" creationId="{064F88F6-DCD9-B41C-7CAA-E275BC821833}"/>
          </ac:graphicFrameMkLst>
        </pc:graphicFrameChg>
      </pc:sldChg>
      <pc:sldChg chg="addSp delSp modSp add mod">
        <pc:chgData name="Tường SKHĐT" userId="ab9568c39a88b08a" providerId="LiveId" clId="{BE80218A-C675-4EC2-AD94-24A89D98EEE1}" dt="2023-06-06T03:17:09.860" v="1328" actId="1076"/>
        <pc:sldMkLst>
          <pc:docMk/>
          <pc:sldMk cId="2518956890" sldId="2147473767"/>
        </pc:sldMkLst>
        <pc:spChg chg="del">
          <ac:chgData name="Tường SKHĐT" userId="ab9568c39a88b08a" providerId="LiveId" clId="{BE80218A-C675-4EC2-AD94-24A89D98EEE1}" dt="2023-06-06T03:16:42.867" v="1316" actId="21"/>
          <ac:spMkLst>
            <pc:docMk/>
            <pc:sldMk cId="2518956890" sldId="2147473767"/>
            <ac:spMk id="2" creationId="{452B1F82-822B-EF70-0133-F9BAD474E8D9}"/>
          </ac:spMkLst>
        </pc:spChg>
        <pc:graphicFrameChg chg="del">
          <ac:chgData name="Tường SKHĐT" userId="ab9568c39a88b08a" providerId="LiveId" clId="{BE80218A-C675-4EC2-AD94-24A89D98EEE1}" dt="2023-06-06T03:16:31.342" v="1312" actId="21"/>
          <ac:graphicFrameMkLst>
            <pc:docMk/>
            <pc:sldMk cId="2518956890" sldId="2147473767"/>
            <ac:graphicFrameMk id="4" creationId="{9E1BAABF-75B5-D4AF-4780-F6A9C50AC043}"/>
          </ac:graphicFrameMkLst>
        </pc:graphicFrameChg>
        <pc:graphicFrameChg chg="add mod">
          <ac:chgData name="Tường SKHĐT" userId="ab9568c39a88b08a" providerId="LiveId" clId="{BE80218A-C675-4EC2-AD94-24A89D98EEE1}" dt="2023-06-06T03:17:09.860" v="1328" actId="1076"/>
          <ac:graphicFrameMkLst>
            <pc:docMk/>
            <pc:sldMk cId="2518956890" sldId="2147473767"/>
            <ac:graphicFrameMk id="6" creationId="{D930E6BF-6104-4528-12DB-4FA32E5E68E2}"/>
          </ac:graphicFrameMkLst>
        </pc:graphicFrameChg>
      </pc:sldChg>
      <pc:sldChg chg="modSp add mod">
        <pc:chgData name="Tường SKHĐT" userId="ab9568c39a88b08a" providerId="LiveId" clId="{BE80218A-C675-4EC2-AD94-24A89D98EEE1}" dt="2023-06-06T03:22:50.243" v="1369" actId="20577"/>
        <pc:sldMkLst>
          <pc:docMk/>
          <pc:sldMk cId="1424456270" sldId="2147473768"/>
        </pc:sldMkLst>
        <pc:graphicFrameChg chg="mod modGraphic">
          <ac:chgData name="Tường SKHĐT" userId="ab9568c39a88b08a" providerId="LiveId" clId="{BE80218A-C675-4EC2-AD94-24A89D98EEE1}" dt="2023-06-06T03:22:50.243" v="1369" actId="20577"/>
          <ac:graphicFrameMkLst>
            <pc:docMk/>
            <pc:sldMk cId="1424456270" sldId="2147473768"/>
            <ac:graphicFrameMk id="9" creationId="{0FC7DBA8-03B5-1D5D-B7A1-68AA6F62DF7E}"/>
          </ac:graphicFrameMkLst>
        </pc:graphicFrameChg>
      </pc:sldChg>
      <pc:sldChg chg="addSp delSp modSp add mod">
        <pc:chgData name="Tường SKHĐT" userId="ab9568c39a88b08a" providerId="LiveId" clId="{BE80218A-C675-4EC2-AD94-24A89D98EEE1}" dt="2023-06-06T03:21:34.469" v="1352"/>
        <pc:sldMkLst>
          <pc:docMk/>
          <pc:sldMk cId="2280649645" sldId="2147473769"/>
        </pc:sldMkLst>
        <pc:spChg chg="del">
          <ac:chgData name="Tường SKHĐT" userId="ab9568c39a88b08a" providerId="LiveId" clId="{BE80218A-C675-4EC2-AD94-24A89D98EEE1}" dt="2023-06-06T03:21:28.261" v="1349" actId="21"/>
          <ac:spMkLst>
            <pc:docMk/>
            <pc:sldMk cId="2280649645" sldId="2147473769"/>
            <ac:spMk id="2" creationId="{EE8CB48F-970D-5112-81B2-029AA760C6DA}"/>
          </ac:spMkLst>
        </pc:spChg>
        <pc:spChg chg="add del mod">
          <ac:chgData name="Tường SKHĐT" userId="ab9568c39a88b08a" providerId="LiveId" clId="{BE80218A-C675-4EC2-AD94-24A89D98EEE1}" dt="2023-06-06T03:21:30.441" v="1351"/>
          <ac:spMkLst>
            <pc:docMk/>
            <pc:sldMk cId="2280649645" sldId="2147473769"/>
            <ac:spMk id="3" creationId="{429B8850-82A1-4302-7947-2086A99D3144}"/>
          </ac:spMkLst>
        </pc:spChg>
        <pc:spChg chg="add mod">
          <ac:chgData name="Tường SKHĐT" userId="ab9568c39a88b08a" providerId="LiveId" clId="{BE80218A-C675-4EC2-AD94-24A89D98EEE1}" dt="2023-06-06T03:21:34.469" v="1352"/>
          <ac:spMkLst>
            <pc:docMk/>
            <pc:sldMk cId="2280649645" sldId="2147473769"/>
            <ac:spMk id="4" creationId="{3DAAD17F-4A57-07B0-72E4-C7D0722B854E}"/>
          </ac:spMkLst>
        </pc:spChg>
      </pc:sldChg>
      <pc:sldChg chg="modSp add mod">
        <pc:chgData name="Tường SKHĐT" userId="ab9568c39a88b08a" providerId="LiveId" clId="{BE80218A-C675-4EC2-AD94-24A89D98EEE1}" dt="2023-06-06T03:23:51.747" v="1371" actId="1076"/>
        <pc:sldMkLst>
          <pc:docMk/>
          <pc:sldMk cId="4140657677" sldId="2147473770"/>
        </pc:sldMkLst>
        <pc:spChg chg="mod">
          <ac:chgData name="Tường SKHĐT" userId="ab9568c39a88b08a" providerId="LiveId" clId="{BE80218A-C675-4EC2-AD94-24A89D98EEE1}" dt="2023-06-06T03:23:51.747" v="1371" actId="1076"/>
          <ac:spMkLst>
            <pc:docMk/>
            <pc:sldMk cId="4140657677" sldId="2147473770"/>
            <ac:spMk id="2" creationId="{85B15777-9A9B-83C0-EAE1-18A3DD8356D6}"/>
          </ac:spMkLst>
        </pc:spChg>
      </pc:sldChg>
      <pc:sldChg chg="add del">
        <pc:chgData name="Tường SKHĐT" userId="ab9568c39a88b08a" providerId="LiveId" clId="{BE80218A-C675-4EC2-AD94-24A89D98EEE1}" dt="2023-06-06T04:12:05.927" v="1431" actId="2696"/>
        <pc:sldMkLst>
          <pc:docMk/>
          <pc:sldMk cId="1021027361" sldId="2147473771"/>
        </pc:sldMkLst>
      </pc:sldChg>
      <pc:sldChg chg="addSp delSp modSp add del mod">
        <pc:chgData name="Tường SKHĐT" userId="ab9568c39a88b08a" providerId="LiveId" clId="{BE80218A-C675-4EC2-AD94-24A89D98EEE1}" dt="2023-06-08T07:38:24.734" v="9487" actId="2696"/>
        <pc:sldMkLst>
          <pc:docMk/>
          <pc:sldMk cId="2475946753" sldId="2147473771"/>
        </pc:sldMkLst>
        <pc:spChg chg="add mod">
          <ac:chgData name="Tường SKHĐT" userId="ab9568c39a88b08a" providerId="LiveId" clId="{BE80218A-C675-4EC2-AD94-24A89D98EEE1}" dt="2023-06-08T02:58:58.849" v="9164" actId="1076"/>
          <ac:spMkLst>
            <pc:docMk/>
            <pc:sldMk cId="2475946753" sldId="2147473771"/>
            <ac:spMk id="2" creationId="{BB7D8E9C-B3F6-DD25-25B6-76818EE92AE6}"/>
          </ac:spMkLst>
        </pc:spChg>
        <pc:spChg chg="del mod">
          <ac:chgData name="Tường SKHĐT" userId="ab9568c39a88b08a" providerId="LiveId" clId="{BE80218A-C675-4EC2-AD94-24A89D98EEE1}" dt="2023-06-08T00:27:45.389" v="5302" actId="21"/>
          <ac:spMkLst>
            <pc:docMk/>
            <pc:sldMk cId="2475946753" sldId="2147473771"/>
            <ac:spMk id="6" creationId="{AD8FCB44-5401-4810-551D-B0072A6956BA}"/>
          </ac:spMkLst>
        </pc:spChg>
        <pc:graphicFrameChg chg="del mod modGraphic">
          <ac:chgData name="Tường SKHĐT" userId="ab9568c39a88b08a" providerId="LiveId" clId="{BE80218A-C675-4EC2-AD94-24A89D98EEE1}" dt="2023-06-07T08:28:49.368" v="2678" actId="21"/>
          <ac:graphicFrameMkLst>
            <pc:docMk/>
            <pc:sldMk cId="2475946753" sldId="2147473771"/>
            <ac:graphicFrameMk id="2" creationId="{3E45EC01-8919-CDD1-BF49-FD790779B8D8}"/>
          </ac:graphicFrameMkLst>
        </pc:graphicFrameChg>
        <pc:graphicFrameChg chg="add mod modGraphic">
          <ac:chgData name="Tường SKHĐT" userId="ab9568c39a88b08a" providerId="LiveId" clId="{BE80218A-C675-4EC2-AD94-24A89D98EEE1}" dt="2023-06-08T07:22:05.105" v="9432" actId="113"/>
          <ac:graphicFrameMkLst>
            <pc:docMk/>
            <pc:sldMk cId="2475946753" sldId="2147473771"/>
            <ac:graphicFrameMk id="3" creationId="{2B60E389-3C15-E216-2343-FACD1755B5AD}"/>
          </ac:graphicFrameMkLst>
        </pc:graphicFrameChg>
        <pc:graphicFrameChg chg="del mod">
          <ac:chgData name="Tường SKHĐT" userId="ab9568c39a88b08a" providerId="LiveId" clId="{BE80218A-C675-4EC2-AD94-24A89D98EEE1}" dt="2023-06-08T00:26:58.215" v="5168" actId="21"/>
          <ac:graphicFrameMkLst>
            <pc:docMk/>
            <pc:sldMk cId="2475946753" sldId="2147473771"/>
            <ac:graphicFrameMk id="5" creationId="{A12A8C36-ABD5-9F37-3859-60C635D270CE}"/>
          </ac:graphicFrameMkLst>
        </pc:graphicFrameChg>
      </pc:sldChg>
      <pc:sldChg chg="addSp delSp modSp add mod">
        <pc:chgData name="Tường SKHĐT" userId="ab9568c39a88b08a" providerId="LiveId" clId="{BE80218A-C675-4EC2-AD94-24A89D98EEE1}" dt="2023-06-07T09:53:29.411" v="3532" actId="14100"/>
        <pc:sldMkLst>
          <pc:docMk/>
          <pc:sldMk cId="234700294" sldId="2147473772"/>
        </pc:sldMkLst>
        <pc:spChg chg="del">
          <ac:chgData name="Tường SKHĐT" userId="ab9568c39a88b08a" providerId="LiveId" clId="{BE80218A-C675-4EC2-AD94-24A89D98EEE1}" dt="2023-06-06T04:16:06.937" v="1543" actId="21"/>
          <ac:spMkLst>
            <pc:docMk/>
            <pc:sldMk cId="234700294" sldId="2147473772"/>
            <ac:spMk id="3" creationId="{9363D8CF-2C85-3BF9-B7BB-9B85B15F2F06}"/>
          </ac:spMkLst>
        </pc:spChg>
        <pc:spChg chg="add mod">
          <ac:chgData name="Tường SKHĐT" userId="ab9568c39a88b08a" providerId="LiveId" clId="{BE80218A-C675-4EC2-AD94-24A89D98EEE1}" dt="2023-06-06T04:16:13.691" v="1554" actId="20577"/>
          <ac:spMkLst>
            <pc:docMk/>
            <pc:sldMk cId="234700294" sldId="2147473772"/>
            <ac:spMk id="5" creationId="{9CBC7A17-9F40-F9E2-3D14-0D173740B2FD}"/>
          </ac:spMkLst>
        </pc:spChg>
        <pc:graphicFrameChg chg="del mod">
          <ac:chgData name="Tường SKHĐT" userId="ab9568c39a88b08a" providerId="LiveId" clId="{BE80218A-C675-4EC2-AD94-24A89D98EEE1}" dt="2023-06-07T09:52:45.393" v="3526" actId="21"/>
          <ac:graphicFrameMkLst>
            <pc:docMk/>
            <pc:sldMk cId="234700294" sldId="2147473772"/>
            <ac:graphicFrameMk id="2" creationId="{74B794F2-F444-5B57-9140-254BFF55A77F}"/>
          </ac:graphicFrameMkLst>
        </pc:graphicFrameChg>
        <pc:graphicFrameChg chg="mod">
          <ac:chgData name="Tường SKHĐT" userId="ab9568c39a88b08a" providerId="LiveId" clId="{BE80218A-C675-4EC2-AD94-24A89D98EEE1}" dt="2023-06-07T09:53:29.411" v="3532" actId="14100"/>
          <ac:graphicFrameMkLst>
            <pc:docMk/>
            <pc:sldMk cId="234700294" sldId="2147473772"/>
            <ac:graphicFrameMk id="3" creationId="{0E1AEE54-0CB2-A7C5-91E3-5E87FD212A8A}"/>
          </ac:graphicFrameMkLst>
        </pc:graphicFrameChg>
        <pc:graphicFrameChg chg="del">
          <ac:chgData name="Tường SKHĐT" userId="ab9568c39a88b08a" providerId="LiveId" clId="{BE80218A-C675-4EC2-AD94-24A89D98EEE1}" dt="2023-06-06T04:15:07.373" v="1446" actId="21"/>
          <ac:graphicFrameMkLst>
            <pc:docMk/>
            <pc:sldMk cId="234700294" sldId="2147473772"/>
            <ac:graphicFrameMk id="4" creationId="{7797DB3D-F747-944F-3F8D-DB6F2A08D04E}"/>
          </ac:graphicFrameMkLst>
        </pc:graphicFrameChg>
      </pc:sldChg>
      <pc:sldChg chg="delSp modSp add mod">
        <pc:chgData name="Tường SKHĐT" userId="ab9568c39a88b08a" providerId="LiveId" clId="{BE80218A-C675-4EC2-AD94-24A89D98EEE1}" dt="2023-06-07T09:53:11.935" v="3530" actId="14100"/>
        <pc:sldMkLst>
          <pc:docMk/>
          <pc:sldMk cId="1104733517" sldId="2147473773"/>
        </pc:sldMkLst>
        <pc:graphicFrameChg chg="mod">
          <ac:chgData name="Tường SKHĐT" userId="ab9568c39a88b08a" providerId="LiveId" clId="{BE80218A-C675-4EC2-AD94-24A89D98EEE1}" dt="2023-06-07T09:53:11.935" v="3530" actId="14100"/>
          <ac:graphicFrameMkLst>
            <pc:docMk/>
            <pc:sldMk cId="1104733517" sldId="2147473773"/>
            <ac:graphicFrameMk id="2" creationId="{C1D40982-3948-FB7D-B602-A3F0643F22E2}"/>
          </ac:graphicFrameMkLst>
        </pc:graphicFrameChg>
        <pc:graphicFrameChg chg="del">
          <ac:chgData name="Tường SKHĐT" userId="ab9568c39a88b08a" providerId="LiveId" clId="{BE80218A-C675-4EC2-AD94-24A89D98EEE1}" dt="2023-06-07T09:52:43.446" v="3525" actId="21"/>
          <ac:graphicFrameMkLst>
            <pc:docMk/>
            <pc:sldMk cId="1104733517" sldId="2147473773"/>
            <ac:graphicFrameMk id="4" creationId="{7797DB3D-F747-944F-3F8D-DB6F2A08D04E}"/>
          </ac:graphicFrameMkLst>
        </pc:graphicFrameChg>
      </pc:sldChg>
      <pc:sldChg chg="delSp modSp add mod">
        <pc:chgData name="Tường SKHĐT" userId="ab9568c39a88b08a" providerId="LiveId" clId="{BE80218A-C675-4EC2-AD94-24A89D98EEE1}" dt="2023-06-07T09:51:57.155" v="3516" actId="1076"/>
        <pc:sldMkLst>
          <pc:docMk/>
          <pc:sldMk cId="2095301367" sldId="2147473774"/>
        </pc:sldMkLst>
        <pc:spChg chg="mod">
          <ac:chgData name="Tường SKHĐT" userId="ab9568c39a88b08a" providerId="LiveId" clId="{BE80218A-C675-4EC2-AD94-24A89D98EEE1}" dt="2023-06-07T03:25:41.635" v="1587" actId="20577"/>
          <ac:spMkLst>
            <pc:docMk/>
            <pc:sldMk cId="2095301367" sldId="2147473774"/>
            <ac:spMk id="3" creationId="{9363D8CF-2C85-3BF9-B7BB-9B85B15F2F06}"/>
          </ac:spMkLst>
        </pc:spChg>
        <pc:graphicFrameChg chg="del mod">
          <ac:chgData name="Tường SKHĐT" userId="ab9568c39a88b08a" providerId="LiveId" clId="{BE80218A-C675-4EC2-AD94-24A89D98EEE1}" dt="2023-06-07T09:51:40.548" v="3513" actId="21"/>
          <ac:graphicFrameMkLst>
            <pc:docMk/>
            <pc:sldMk cId="2095301367" sldId="2147473774"/>
            <ac:graphicFrameMk id="2" creationId="{46F84510-5D73-E7B4-5266-93119E7E7F39}"/>
          </ac:graphicFrameMkLst>
        </pc:graphicFrameChg>
        <pc:graphicFrameChg chg="mod">
          <ac:chgData name="Tường SKHĐT" userId="ab9568c39a88b08a" providerId="LiveId" clId="{BE80218A-C675-4EC2-AD94-24A89D98EEE1}" dt="2023-06-07T09:51:57.155" v="3516" actId="1076"/>
          <ac:graphicFrameMkLst>
            <pc:docMk/>
            <pc:sldMk cId="2095301367" sldId="2147473774"/>
            <ac:graphicFrameMk id="4" creationId="{88CFF7BF-EECA-08B6-5E5A-FC4C7E19A4DD}"/>
          </ac:graphicFrameMkLst>
        </pc:graphicFrameChg>
        <pc:graphicFrameChg chg="del">
          <ac:chgData name="Tường SKHĐT" userId="ab9568c39a88b08a" providerId="LiveId" clId="{BE80218A-C675-4EC2-AD94-24A89D98EEE1}" dt="2023-06-07T03:25:37.055" v="1572" actId="21"/>
          <ac:graphicFrameMkLst>
            <pc:docMk/>
            <pc:sldMk cId="2095301367" sldId="2147473774"/>
            <ac:graphicFrameMk id="7" creationId="{5EEF4045-5BA4-E0B4-06C5-5927D8F5A4DD}"/>
          </ac:graphicFrameMkLst>
        </pc:graphicFrameChg>
      </pc:sldChg>
      <pc:sldChg chg="addSp delSp modSp add del mod">
        <pc:chgData name="Tường SKHĐT" userId="ab9568c39a88b08a" providerId="LiveId" clId="{BE80218A-C675-4EC2-AD94-24A89D98EEE1}" dt="2023-06-07T03:56:48.393" v="2180" actId="2696"/>
        <pc:sldMkLst>
          <pc:docMk/>
          <pc:sldMk cId="1039855207" sldId="2147473775"/>
        </pc:sldMkLst>
        <pc:spChg chg="mod">
          <ac:chgData name="Tường SKHĐT" userId="ab9568c39a88b08a" providerId="LiveId" clId="{BE80218A-C675-4EC2-AD94-24A89D98EEE1}" dt="2023-06-07T03:34:03.919" v="1668" actId="6549"/>
          <ac:spMkLst>
            <pc:docMk/>
            <pc:sldMk cId="1039855207" sldId="2147473775"/>
            <ac:spMk id="2" creationId="{E44EE9E0-4EA3-0404-EFB1-8C6F74BFB274}"/>
          </ac:spMkLst>
        </pc:spChg>
        <pc:spChg chg="del">
          <ac:chgData name="Tường SKHĐT" userId="ab9568c39a88b08a" providerId="LiveId" clId="{BE80218A-C675-4EC2-AD94-24A89D98EEE1}" dt="2023-06-07T03:33:00.355" v="1610" actId="21"/>
          <ac:spMkLst>
            <pc:docMk/>
            <pc:sldMk cId="1039855207" sldId="2147473775"/>
            <ac:spMk id="3" creationId="{22B2B715-653C-5238-09BE-B01B91D4BD2D}"/>
          </ac:spMkLst>
        </pc:spChg>
        <pc:spChg chg="add mod">
          <ac:chgData name="Tường SKHĐT" userId="ab9568c39a88b08a" providerId="LiveId" clId="{BE80218A-C675-4EC2-AD94-24A89D98EEE1}" dt="2023-06-07T03:54:59.735" v="2170"/>
          <ac:spMkLst>
            <pc:docMk/>
            <pc:sldMk cId="1039855207" sldId="2147473775"/>
            <ac:spMk id="3" creationId="{F4469181-9FA7-E375-5CC3-A6CE0AD5DE73}"/>
          </ac:spMkLst>
        </pc:spChg>
        <pc:spChg chg="add del mod">
          <ac:chgData name="Tường SKHĐT" userId="ab9568c39a88b08a" providerId="LiveId" clId="{BE80218A-C675-4EC2-AD94-24A89D98EEE1}" dt="2023-06-07T03:54:55.365" v="2169" actId="21"/>
          <ac:spMkLst>
            <pc:docMk/>
            <pc:sldMk cId="1039855207" sldId="2147473775"/>
            <ac:spMk id="4" creationId="{A9580A04-85B9-CB8C-0FF7-B7307211FA2B}"/>
          </ac:spMkLst>
        </pc:spChg>
      </pc:sldChg>
      <pc:sldChg chg="addSp delSp modSp add mod">
        <pc:chgData name="Tường SKHĐT" userId="ab9568c39a88b08a" providerId="LiveId" clId="{BE80218A-C675-4EC2-AD94-24A89D98EEE1}" dt="2023-06-07T04:02:48" v="2338" actId="108"/>
        <pc:sldMkLst>
          <pc:docMk/>
          <pc:sldMk cId="3251302883" sldId="2147473776"/>
        </pc:sldMkLst>
        <pc:spChg chg="mod">
          <ac:chgData name="Tường SKHĐT" userId="ab9568c39a88b08a" providerId="LiveId" clId="{BE80218A-C675-4EC2-AD94-24A89D98EEE1}" dt="2023-06-07T03:34:14.005" v="1678" actId="20577"/>
          <ac:spMkLst>
            <pc:docMk/>
            <pc:sldMk cId="3251302883" sldId="2147473776"/>
            <ac:spMk id="2" creationId="{E44EE9E0-4EA3-0404-EFB1-8C6F74BFB274}"/>
          </ac:spMkLst>
        </pc:spChg>
        <pc:spChg chg="del">
          <ac:chgData name="Tường SKHĐT" userId="ab9568c39a88b08a" providerId="LiveId" clId="{BE80218A-C675-4EC2-AD94-24A89D98EEE1}" dt="2023-06-07T03:33:03.319" v="1611" actId="21"/>
          <ac:spMkLst>
            <pc:docMk/>
            <pc:sldMk cId="3251302883" sldId="2147473776"/>
            <ac:spMk id="3" creationId="{22B2B715-653C-5238-09BE-B01B91D4BD2D}"/>
          </ac:spMkLst>
        </pc:spChg>
        <pc:spChg chg="add mod">
          <ac:chgData name="Tường SKHĐT" userId="ab9568c39a88b08a" providerId="LiveId" clId="{BE80218A-C675-4EC2-AD94-24A89D98EEE1}" dt="2023-06-07T04:02:48" v="2338" actId="108"/>
          <ac:spMkLst>
            <pc:docMk/>
            <pc:sldMk cId="3251302883" sldId="2147473776"/>
            <ac:spMk id="3" creationId="{710E3433-6F22-39F0-3EDD-1052A826E7F2}"/>
          </ac:spMkLst>
        </pc:spChg>
        <pc:spChg chg="add del mod">
          <ac:chgData name="Tường SKHĐT" userId="ab9568c39a88b08a" providerId="LiveId" clId="{BE80218A-C675-4EC2-AD94-24A89D98EEE1}" dt="2023-06-07T03:58:50.537" v="2292" actId="21"/>
          <ac:spMkLst>
            <pc:docMk/>
            <pc:sldMk cId="3251302883" sldId="2147473776"/>
            <ac:spMk id="4" creationId="{0FA51F45-8726-BC4F-9EAA-D7FF887294E5}"/>
          </ac:spMkLst>
        </pc:spChg>
      </pc:sldChg>
      <pc:sldChg chg="addSp delSp modSp add mod">
        <pc:chgData name="Tường SKHĐT" userId="ab9568c39a88b08a" providerId="LiveId" clId="{BE80218A-C675-4EC2-AD94-24A89D98EEE1}" dt="2023-06-07T04:05:20.543" v="2394" actId="20577"/>
        <pc:sldMkLst>
          <pc:docMk/>
          <pc:sldMk cId="1062303806" sldId="2147473777"/>
        </pc:sldMkLst>
        <pc:spChg chg="mod">
          <ac:chgData name="Tường SKHĐT" userId="ab9568c39a88b08a" providerId="LiveId" clId="{BE80218A-C675-4EC2-AD94-24A89D98EEE1}" dt="2023-06-07T03:37:13.099" v="1970" actId="14100"/>
          <ac:spMkLst>
            <pc:docMk/>
            <pc:sldMk cId="1062303806" sldId="2147473777"/>
            <ac:spMk id="2" creationId="{E44EE9E0-4EA3-0404-EFB1-8C6F74BFB274}"/>
          </ac:spMkLst>
        </pc:spChg>
        <pc:spChg chg="add mod">
          <ac:chgData name="Tường SKHĐT" userId="ab9568c39a88b08a" providerId="LiveId" clId="{BE80218A-C675-4EC2-AD94-24A89D98EEE1}" dt="2023-06-07T04:05:20.543" v="2394" actId="20577"/>
          <ac:spMkLst>
            <pc:docMk/>
            <pc:sldMk cId="1062303806" sldId="2147473777"/>
            <ac:spMk id="3" creationId="{0E85AE63-3D48-B705-DC2C-837405C4EFCD}"/>
          </ac:spMkLst>
        </pc:spChg>
        <pc:spChg chg="del">
          <ac:chgData name="Tường SKHĐT" userId="ab9568c39a88b08a" providerId="LiveId" clId="{BE80218A-C675-4EC2-AD94-24A89D98EEE1}" dt="2023-06-07T03:33:06.169" v="1612" actId="21"/>
          <ac:spMkLst>
            <pc:docMk/>
            <pc:sldMk cId="1062303806" sldId="2147473777"/>
            <ac:spMk id="3" creationId="{22B2B715-653C-5238-09BE-B01B91D4BD2D}"/>
          </ac:spMkLst>
        </pc:spChg>
        <pc:spChg chg="add del mod">
          <ac:chgData name="Tường SKHĐT" userId="ab9568c39a88b08a" providerId="LiveId" clId="{BE80218A-C675-4EC2-AD94-24A89D98EEE1}" dt="2023-06-07T03:59:45.106" v="2301" actId="21"/>
          <ac:spMkLst>
            <pc:docMk/>
            <pc:sldMk cId="1062303806" sldId="2147473777"/>
            <ac:spMk id="4" creationId="{72A0DEF0-437C-3C25-14E6-410CF03BEA70}"/>
          </ac:spMkLst>
        </pc:spChg>
      </pc:sldChg>
      <pc:sldChg chg="addSp delSp modSp add del mod">
        <pc:chgData name="Tường SKHĐT" userId="ab9568c39a88b08a" providerId="LiveId" clId="{BE80218A-C675-4EC2-AD94-24A89D98EEE1}" dt="2023-06-07T04:10:36.214" v="2465" actId="2696"/>
        <pc:sldMkLst>
          <pc:docMk/>
          <pc:sldMk cId="3775435040" sldId="2147473778"/>
        </pc:sldMkLst>
        <pc:spChg chg="mod">
          <ac:chgData name="Tường SKHĐT" userId="ab9568c39a88b08a" providerId="LiveId" clId="{BE80218A-C675-4EC2-AD94-24A89D98EEE1}" dt="2023-06-07T03:35:03.439" v="1765" actId="20577"/>
          <ac:spMkLst>
            <pc:docMk/>
            <pc:sldMk cId="3775435040" sldId="2147473778"/>
            <ac:spMk id="2" creationId="{E44EE9E0-4EA3-0404-EFB1-8C6F74BFB274}"/>
          </ac:spMkLst>
        </pc:spChg>
        <pc:spChg chg="del">
          <ac:chgData name="Tường SKHĐT" userId="ab9568c39a88b08a" providerId="LiveId" clId="{BE80218A-C675-4EC2-AD94-24A89D98EEE1}" dt="2023-06-07T03:33:08.762" v="1613" actId="21"/>
          <ac:spMkLst>
            <pc:docMk/>
            <pc:sldMk cId="3775435040" sldId="2147473778"/>
            <ac:spMk id="3" creationId="{22B2B715-653C-5238-09BE-B01B91D4BD2D}"/>
          </ac:spMkLst>
        </pc:spChg>
        <pc:spChg chg="add mod">
          <ac:chgData name="Tường SKHĐT" userId="ab9568c39a88b08a" providerId="LiveId" clId="{BE80218A-C675-4EC2-AD94-24A89D98EEE1}" dt="2023-06-07T04:02:03.734" v="2333" actId="20577"/>
          <ac:spMkLst>
            <pc:docMk/>
            <pc:sldMk cId="3775435040" sldId="2147473778"/>
            <ac:spMk id="3" creationId="{6FE22930-7AC3-0554-2E33-B7CD2989A925}"/>
          </ac:spMkLst>
        </pc:spChg>
        <pc:spChg chg="add del mod">
          <ac:chgData name="Tường SKHĐT" userId="ab9568c39a88b08a" providerId="LiveId" clId="{BE80218A-C675-4EC2-AD94-24A89D98EEE1}" dt="2023-06-07T04:01:48.405" v="2329" actId="21"/>
          <ac:spMkLst>
            <pc:docMk/>
            <pc:sldMk cId="3775435040" sldId="2147473778"/>
            <ac:spMk id="4" creationId="{9A215C6C-81F2-B9A6-7BC7-71A9C7369F63}"/>
          </ac:spMkLst>
        </pc:spChg>
      </pc:sldChg>
      <pc:sldChg chg="addSp delSp modSp add mod">
        <pc:chgData name="Tường SKHĐT" userId="ab9568c39a88b08a" providerId="LiveId" clId="{BE80218A-C675-4EC2-AD94-24A89D98EEE1}" dt="2023-06-07T04:10:40.120" v="2467" actId="20577"/>
        <pc:sldMkLst>
          <pc:docMk/>
          <pc:sldMk cId="2750415700" sldId="2147473779"/>
        </pc:sldMkLst>
        <pc:spChg chg="mod">
          <ac:chgData name="Tường SKHĐT" userId="ab9568c39a88b08a" providerId="LiveId" clId="{BE80218A-C675-4EC2-AD94-24A89D98EEE1}" dt="2023-06-07T04:10:40.120" v="2467" actId="20577"/>
          <ac:spMkLst>
            <pc:docMk/>
            <pc:sldMk cId="2750415700" sldId="2147473779"/>
            <ac:spMk id="2" creationId="{E44EE9E0-4EA3-0404-EFB1-8C6F74BFB274}"/>
          </ac:spMkLst>
        </pc:spChg>
        <pc:spChg chg="add del mod">
          <ac:chgData name="Tường SKHĐT" userId="ab9568c39a88b08a" providerId="LiveId" clId="{BE80218A-C675-4EC2-AD94-24A89D98EEE1}" dt="2023-06-07T04:00:34.750" v="2311" actId="21"/>
          <ac:spMkLst>
            <pc:docMk/>
            <pc:sldMk cId="2750415700" sldId="2147473779"/>
            <ac:spMk id="3" creationId="{031D97DD-52CE-206C-4210-FF0B07EAE560}"/>
          </ac:spMkLst>
        </pc:spChg>
        <pc:spChg chg="add mod">
          <ac:chgData name="Tường SKHĐT" userId="ab9568c39a88b08a" providerId="LiveId" clId="{BE80218A-C675-4EC2-AD94-24A89D98EEE1}" dt="2023-06-07T04:07:30.185" v="2460" actId="20577"/>
          <ac:spMkLst>
            <pc:docMk/>
            <pc:sldMk cId="2750415700" sldId="2147473779"/>
            <ac:spMk id="4" creationId="{B1405CF5-1D52-D5B7-F187-87D10B6C93E3}"/>
          </ac:spMkLst>
        </pc:spChg>
      </pc:sldChg>
      <pc:sldChg chg="addSp delSp modSp add mod">
        <pc:chgData name="Tường SKHĐT" userId="ab9568c39a88b08a" providerId="LiveId" clId="{BE80218A-C675-4EC2-AD94-24A89D98EEE1}" dt="2023-06-07T04:10:43.240" v="2469" actId="20577"/>
        <pc:sldMkLst>
          <pc:docMk/>
          <pc:sldMk cId="645932880" sldId="2147473780"/>
        </pc:sldMkLst>
        <pc:spChg chg="mod">
          <ac:chgData name="Tường SKHĐT" userId="ab9568c39a88b08a" providerId="LiveId" clId="{BE80218A-C675-4EC2-AD94-24A89D98EEE1}" dt="2023-06-07T04:10:43.240" v="2469" actId="20577"/>
          <ac:spMkLst>
            <pc:docMk/>
            <pc:sldMk cId="645932880" sldId="2147473780"/>
            <ac:spMk id="2" creationId="{E44EE9E0-4EA3-0404-EFB1-8C6F74BFB274}"/>
          </ac:spMkLst>
        </pc:spChg>
        <pc:spChg chg="add del mod">
          <ac:chgData name="Tường SKHĐT" userId="ab9568c39a88b08a" providerId="LiveId" clId="{BE80218A-C675-4EC2-AD94-24A89D98EEE1}" dt="2023-06-07T04:01:06.764" v="2317" actId="21"/>
          <ac:spMkLst>
            <pc:docMk/>
            <pc:sldMk cId="645932880" sldId="2147473780"/>
            <ac:spMk id="3" creationId="{29688E9F-054B-1A93-2156-57009456956F}"/>
          </ac:spMkLst>
        </pc:spChg>
        <pc:spChg chg="add mod">
          <ac:chgData name="Tường SKHĐT" userId="ab9568c39a88b08a" providerId="LiveId" clId="{BE80218A-C675-4EC2-AD94-24A89D98EEE1}" dt="2023-06-07T04:06:01.067" v="2399" actId="1076"/>
          <ac:spMkLst>
            <pc:docMk/>
            <pc:sldMk cId="645932880" sldId="2147473780"/>
            <ac:spMk id="7" creationId="{4A5CC767-3BC7-5025-FC6C-29F07C0192CB}"/>
          </ac:spMkLst>
        </pc:spChg>
        <pc:picChg chg="add del mod">
          <ac:chgData name="Tường SKHĐT" userId="ab9568c39a88b08a" providerId="LiveId" clId="{BE80218A-C675-4EC2-AD94-24A89D98EEE1}" dt="2023-06-07T04:01:08.617" v="2319" actId="478"/>
          <ac:picMkLst>
            <pc:docMk/>
            <pc:sldMk cId="645932880" sldId="2147473780"/>
            <ac:picMk id="4" creationId="{B24D0C51-489B-5D0D-BC49-02E90F97D7EB}"/>
          </ac:picMkLst>
        </pc:picChg>
        <pc:picChg chg="add del mod">
          <ac:chgData name="Tường SKHĐT" userId="ab9568c39a88b08a" providerId="LiveId" clId="{BE80218A-C675-4EC2-AD94-24A89D98EEE1}" dt="2023-06-07T04:01:07.970" v="2318" actId="478"/>
          <ac:picMkLst>
            <pc:docMk/>
            <pc:sldMk cId="645932880" sldId="2147473780"/>
            <ac:picMk id="6" creationId="{6A5EA4C8-3744-35A5-AA3E-D713D02841DE}"/>
          </ac:picMkLst>
        </pc:picChg>
      </pc:sldChg>
      <pc:sldChg chg="modSp add mod">
        <pc:chgData name="Tường SKHĐT" userId="ab9568c39a88b08a" providerId="LiveId" clId="{BE80218A-C675-4EC2-AD94-24A89D98EEE1}" dt="2023-06-07T03:58:23.447" v="2289" actId="1076"/>
        <pc:sldMkLst>
          <pc:docMk/>
          <pc:sldMk cId="1719214563" sldId="2147473781"/>
        </pc:sldMkLst>
        <pc:spChg chg="mod">
          <ac:chgData name="Tường SKHĐT" userId="ab9568c39a88b08a" providerId="LiveId" clId="{BE80218A-C675-4EC2-AD94-24A89D98EEE1}" dt="2023-06-07T03:58:23.447" v="2289" actId="1076"/>
          <ac:spMkLst>
            <pc:docMk/>
            <pc:sldMk cId="1719214563" sldId="2147473781"/>
            <ac:spMk id="4" creationId="{A9580A04-85B9-CB8C-0FF7-B7307211FA2B}"/>
          </ac:spMkLst>
        </pc:spChg>
      </pc:sldChg>
      <pc:sldChg chg="add del">
        <pc:chgData name="Tường SKHĐT" userId="ab9568c39a88b08a" providerId="LiveId" clId="{BE80218A-C675-4EC2-AD94-24A89D98EEE1}" dt="2023-06-07T04:01:38.212" v="2327" actId="2696"/>
        <pc:sldMkLst>
          <pc:docMk/>
          <pc:sldMk cId="26998793" sldId="2147473782"/>
        </pc:sldMkLst>
      </pc:sldChg>
      <pc:sldChg chg="add del">
        <pc:chgData name="Tường SKHĐT" userId="ab9568c39a88b08a" providerId="LiveId" clId="{BE80218A-C675-4EC2-AD94-24A89D98EEE1}" dt="2023-06-07T03:59:18.380" v="2299" actId="2696"/>
        <pc:sldMkLst>
          <pc:docMk/>
          <pc:sldMk cId="1592731641" sldId="2147473782"/>
        </pc:sldMkLst>
      </pc:sldChg>
      <pc:sldChg chg="add del">
        <pc:chgData name="Tường SKHĐT" userId="ab9568c39a88b08a" providerId="LiveId" clId="{BE80218A-C675-4EC2-AD94-24A89D98EEE1}" dt="2023-06-07T04:00:14.077" v="2309" actId="2696"/>
        <pc:sldMkLst>
          <pc:docMk/>
          <pc:sldMk cId="2594209138" sldId="2147473782"/>
        </pc:sldMkLst>
      </pc:sldChg>
      <pc:sldChg chg="add del">
        <pc:chgData name="Tường SKHĐT" userId="ab9568c39a88b08a" providerId="LiveId" clId="{BE80218A-C675-4EC2-AD94-24A89D98EEE1}" dt="2023-06-07T04:00:55.901" v="2315" actId="2696"/>
        <pc:sldMkLst>
          <pc:docMk/>
          <pc:sldMk cId="3050355427" sldId="2147473782"/>
        </pc:sldMkLst>
      </pc:sldChg>
      <pc:sldChg chg="delSp modSp add mod">
        <pc:chgData name="Tường SKHĐT" userId="ab9568c39a88b08a" providerId="LiveId" clId="{BE80218A-C675-4EC2-AD94-24A89D98EEE1}" dt="2023-06-07T09:51:37.528" v="3512" actId="14100"/>
        <pc:sldMkLst>
          <pc:docMk/>
          <pc:sldMk cId="3240633406" sldId="2147473782"/>
        </pc:sldMkLst>
        <pc:spChg chg="mod">
          <ac:chgData name="Tường SKHĐT" userId="ab9568c39a88b08a" providerId="LiveId" clId="{BE80218A-C675-4EC2-AD94-24A89D98EEE1}" dt="2023-06-07T07:49:28.389" v="2513" actId="20577"/>
          <ac:spMkLst>
            <pc:docMk/>
            <pc:sldMk cId="3240633406" sldId="2147473782"/>
            <ac:spMk id="3" creationId="{9363D8CF-2C85-3BF9-B7BB-9B85B15F2F06}"/>
          </ac:spMkLst>
        </pc:spChg>
        <pc:graphicFrameChg chg="mod">
          <ac:chgData name="Tường SKHĐT" userId="ab9568c39a88b08a" providerId="LiveId" clId="{BE80218A-C675-4EC2-AD94-24A89D98EEE1}" dt="2023-06-07T09:51:37.528" v="3512" actId="14100"/>
          <ac:graphicFrameMkLst>
            <pc:docMk/>
            <pc:sldMk cId="3240633406" sldId="2147473782"/>
            <ac:graphicFrameMk id="2" creationId="{3DAB9EA9-E92B-5314-2803-3E1AA62A0546}"/>
          </ac:graphicFrameMkLst>
        </pc:graphicFrameChg>
        <pc:graphicFrameChg chg="del">
          <ac:chgData name="Tường SKHĐT" userId="ab9568c39a88b08a" providerId="LiveId" clId="{BE80218A-C675-4EC2-AD94-24A89D98EEE1}" dt="2023-06-07T09:51:18.343" v="3508" actId="21"/>
          <ac:graphicFrameMkLst>
            <pc:docMk/>
            <pc:sldMk cId="3240633406" sldId="2147473782"/>
            <ac:graphicFrameMk id="7" creationId="{5EEF4045-5BA4-E0B4-06C5-5927D8F5A4DD}"/>
          </ac:graphicFrameMkLst>
        </pc:graphicFrameChg>
      </pc:sldChg>
      <pc:sldChg chg="add del">
        <pc:chgData name="Tường SKHĐT" userId="ab9568c39a88b08a" providerId="LiveId" clId="{BE80218A-C675-4EC2-AD94-24A89D98EEE1}" dt="2023-06-07T04:02:07.007" v="2334" actId="2696"/>
        <pc:sldMkLst>
          <pc:docMk/>
          <pc:sldMk cId="3975351433" sldId="2147473782"/>
        </pc:sldMkLst>
      </pc:sldChg>
      <pc:sldChg chg="delSp modSp add mod">
        <pc:chgData name="Tường SKHĐT" userId="ab9568c39a88b08a" providerId="LiveId" clId="{BE80218A-C675-4EC2-AD94-24A89D98EEE1}" dt="2023-06-07T09:51:14.154" v="3507" actId="1076"/>
        <pc:sldMkLst>
          <pc:docMk/>
          <pc:sldMk cId="2431116905" sldId="2147473783"/>
        </pc:sldMkLst>
        <pc:spChg chg="mod">
          <ac:chgData name="Tường SKHĐT" userId="ab9568c39a88b08a" providerId="LiveId" clId="{BE80218A-C675-4EC2-AD94-24A89D98EEE1}" dt="2023-06-07T09:51:14.154" v="3507" actId="1076"/>
          <ac:spMkLst>
            <pc:docMk/>
            <pc:sldMk cId="2431116905" sldId="2147473783"/>
            <ac:spMk id="3" creationId="{9363D8CF-2C85-3BF9-B7BB-9B85B15F2F06}"/>
          </ac:spMkLst>
        </pc:spChg>
        <pc:graphicFrameChg chg="del mod">
          <ac:chgData name="Tường SKHĐT" userId="ab9568c39a88b08a" providerId="LiveId" clId="{BE80218A-C675-4EC2-AD94-24A89D98EEE1}" dt="2023-06-07T09:50:49.636" v="3503" actId="21"/>
          <ac:graphicFrameMkLst>
            <pc:docMk/>
            <pc:sldMk cId="2431116905" sldId="2147473783"/>
            <ac:graphicFrameMk id="2" creationId="{04996C98-5B48-AF22-C00A-FA8A7726268E}"/>
          </ac:graphicFrameMkLst>
        </pc:graphicFrameChg>
        <pc:graphicFrameChg chg="mod">
          <ac:chgData name="Tường SKHĐT" userId="ab9568c39a88b08a" providerId="LiveId" clId="{BE80218A-C675-4EC2-AD94-24A89D98EEE1}" dt="2023-06-07T09:51:11.682" v="3506" actId="1076"/>
          <ac:graphicFrameMkLst>
            <pc:docMk/>
            <pc:sldMk cId="2431116905" sldId="2147473783"/>
            <ac:graphicFrameMk id="4" creationId="{CB125874-AF46-08B5-FA85-D0900844E51C}"/>
          </ac:graphicFrameMkLst>
        </pc:graphicFrameChg>
        <pc:graphicFrameChg chg="del">
          <ac:chgData name="Tường SKHĐT" userId="ab9568c39a88b08a" providerId="LiveId" clId="{BE80218A-C675-4EC2-AD94-24A89D98EEE1}" dt="2023-06-07T07:49:07.934" v="2472" actId="21"/>
          <ac:graphicFrameMkLst>
            <pc:docMk/>
            <pc:sldMk cId="2431116905" sldId="2147473783"/>
            <ac:graphicFrameMk id="7" creationId="{5EEF4045-5BA4-E0B4-06C5-5927D8F5A4DD}"/>
          </ac:graphicFrameMkLst>
        </pc:graphicFrameChg>
      </pc:sldChg>
      <pc:sldChg chg="delSp modSp add mod">
        <pc:chgData name="Tường SKHĐT" userId="ab9568c39a88b08a" providerId="LiveId" clId="{BE80218A-C675-4EC2-AD94-24A89D98EEE1}" dt="2023-06-08T03:09:19.061" v="9168" actId="14100"/>
        <pc:sldMkLst>
          <pc:docMk/>
          <pc:sldMk cId="2591896949" sldId="2147473784"/>
        </pc:sldMkLst>
        <pc:spChg chg="mod">
          <ac:chgData name="Tường SKHĐT" userId="ab9568c39a88b08a" providerId="LiveId" clId="{BE80218A-C675-4EC2-AD94-24A89D98EEE1}" dt="2023-06-07T07:49:45.279" v="2538" actId="20577"/>
          <ac:spMkLst>
            <pc:docMk/>
            <pc:sldMk cId="2591896949" sldId="2147473784"/>
            <ac:spMk id="3" creationId="{9363D8CF-2C85-3BF9-B7BB-9B85B15F2F06}"/>
          </ac:spMkLst>
        </pc:spChg>
        <pc:graphicFrameChg chg="del">
          <ac:chgData name="Tường SKHĐT" userId="ab9568c39a88b08a" providerId="LiveId" clId="{BE80218A-C675-4EC2-AD94-24A89D98EEE1}" dt="2023-06-07T07:49:42.108" v="2525" actId="21"/>
          <ac:graphicFrameMkLst>
            <pc:docMk/>
            <pc:sldMk cId="2591896949" sldId="2147473784"/>
            <ac:graphicFrameMk id="2" creationId="{46F84510-5D73-E7B4-5266-93119E7E7F39}"/>
          </ac:graphicFrameMkLst>
        </pc:graphicFrameChg>
        <pc:graphicFrameChg chg="del mod">
          <ac:chgData name="Tường SKHĐT" userId="ab9568c39a88b08a" providerId="LiveId" clId="{BE80218A-C675-4EC2-AD94-24A89D98EEE1}" dt="2023-06-08T03:09:02.897" v="9165" actId="21"/>
          <ac:graphicFrameMkLst>
            <pc:docMk/>
            <pc:sldMk cId="2591896949" sldId="2147473784"/>
            <ac:graphicFrameMk id="2" creationId="{C209F275-B6AA-22BB-8C90-DA0CFC3F4AA8}"/>
          </ac:graphicFrameMkLst>
        </pc:graphicFrameChg>
        <pc:graphicFrameChg chg="del mod">
          <ac:chgData name="Tường SKHĐT" userId="ab9568c39a88b08a" providerId="LiveId" clId="{BE80218A-C675-4EC2-AD94-24A89D98EEE1}" dt="2023-06-07T09:52:01.180" v="3517" actId="21"/>
          <ac:graphicFrameMkLst>
            <pc:docMk/>
            <pc:sldMk cId="2591896949" sldId="2147473784"/>
            <ac:graphicFrameMk id="4" creationId="{8A2F5A78-DFAB-DD87-B655-C862A67845E7}"/>
          </ac:graphicFrameMkLst>
        </pc:graphicFrameChg>
        <pc:graphicFrameChg chg="mod">
          <ac:chgData name="Tường SKHĐT" userId="ab9568c39a88b08a" providerId="LiveId" clId="{BE80218A-C675-4EC2-AD94-24A89D98EEE1}" dt="2023-06-08T03:09:19.061" v="9168" actId="14100"/>
          <ac:graphicFrameMkLst>
            <pc:docMk/>
            <pc:sldMk cId="2591896949" sldId="2147473784"/>
            <ac:graphicFrameMk id="4" creationId="{B66012D5-611D-7F57-C36F-1B725A75297C}"/>
          </ac:graphicFrameMkLst>
        </pc:graphicFrameChg>
      </pc:sldChg>
      <pc:sldChg chg="delSp modSp add mod">
        <pc:chgData name="Tường SKHĐT" userId="ab9568c39a88b08a" providerId="LiveId" clId="{BE80218A-C675-4EC2-AD94-24A89D98EEE1}" dt="2023-06-08T04:20:11.302" v="9409" actId="14100"/>
        <pc:sldMkLst>
          <pc:docMk/>
          <pc:sldMk cId="156183180" sldId="2147473785"/>
        </pc:sldMkLst>
        <pc:spChg chg="mod">
          <ac:chgData name="Tường SKHĐT" userId="ab9568c39a88b08a" providerId="LiveId" clId="{BE80218A-C675-4EC2-AD94-24A89D98EEE1}" dt="2023-06-07T07:49:51.373" v="2543" actId="20577"/>
          <ac:spMkLst>
            <pc:docMk/>
            <pc:sldMk cId="156183180" sldId="2147473785"/>
            <ac:spMk id="3" creationId="{9363D8CF-2C85-3BF9-B7BB-9B85B15F2F06}"/>
          </ac:spMkLst>
        </pc:spChg>
        <pc:graphicFrameChg chg="del mod">
          <ac:chgData name="Tường SKHĐT" userId="ab9568c39a88b08a" providerId="LiveId" clId="{BE80218A-C675-4EC2-AD94-24A89D98EEE1}" dt="2023-06-07T09:52:04.080" v="3518" actId="21"/>
          <ac:graphicFrameMkLst>
            <pc:docMk/>
            <pc:sldMk cId="156183180" sldId="2147473785"/>
            <ac:graphicFrameMk id="2" creationId="{21FBD287-F344-9E4F-A1EA-084F06D670C8}"/>
          </ac:graphicFrameMkLst>
        </pc:graphicFrameChg>
        <pc:graphicFrameChg chg="mod">
          <ac:chgData name="Tường SKHĐT" userId="ab9568c39a88b08a" providerId="LiveId" clId="{BE80218A-C675-4EC2-AD94-24A89D98EEE1}" dt="2023-06-08T04:20:11.302" v="9409" actId="14100"/>
          <ac:graphicFrameMkLst>
            <pc:docMk/>
            <pc:sldMk cId="156183180" sldId="2147473785"/>
            <ac:graphicFrameMk id="2" creationId="{C07E3B50-87A3-1547-1353-E9A6F97C2E5A}"/>
          </ac:graphicFrameMkLst>
        </pc:graphicFrameChg>
        <pc:graphicFrameChg chg="del mod">
          <ac:chgData name="Tường SKHĐT" userId="ab9568c39a88b08a" providerId="LiveId" clId="{BE80218A-C675-4EC2-AD94-24A89D98EEE1}" dt="2023-06-08T04:18:07.481" v="9397" actId="21"/>
          <ac:graphicFrameMkLst>
            <pc:docMk/>
            <pc:sldMk cId="156183180" sldId="2147473785"/>
            <ac:graphicFrameMk id="4" creationId="{EB059C7D-2717-B6C4-E6B6-5435DB51E67F}"/>
          </ac:graphicFrameMkLst>
        </pc:graphicFrameChg>
      </pc:sldChg>
      <pc:sldChg chg="modSp add mod">
        <pc:chgData name="Tường SKHĐT" userId="ab9568c39a88b08a" providerId="LiveId" clId="{BE80218A-C675-4EC2-AD94-24A89D98EEE1}" dt="2023-06-07T10:17:03.603" v="5166" actId="14100"/>
        <pc:sldMkLst>
          <pc:docMk/>
          <pc:sldMk cId="4232641420" sldId="2147473786"/>
        </pc:sldMkLst>
        <pc:spChg chg="mod">
          <ac:chgData name="Tường SKHĐT" userId="ab9568c39a88b08a" providerId="LiveId" clId="{BE80218A-C675-4EC2-AD94-24A89D98EEE1}" dt="2023-06-07T07:50:00.356" v="2555" actId="20577"/>
          <ac:spMkLst>
            <pc:docMk/>
            <pc:sldMk cId="4232641420" sldId="2147473786"/>
            <ac:spMk id="3" creationId="{9363D8CF-2C85-3BF9-B7BB-9B85B15F2F06}"/>
          </ac:spMkLst>
        </pc:spChg>
        <pc:graphicFrameChg chg="mod">
          <ac:chgData name="Tường SKHĐT" userId="ab9568c39a88b08a" providerId="LiveId" clId="{BE80218A-C675-4EC2-AD94-24A89D98EEE1}" dt="2023-06-07T10:17:03.603" v="5166" actId="14100"/>
          <ac:graphicFrameMkLst>
            <pc:docMk/>
            <pc:sldMk cId="4232641420" sldId="2147473786"/>
            <ac:graphicFrameMk id="2" creationId="{BFE6691C-E16E-33FF-D926-977E7FBC6CC5}"/>
          </ac:graphicFrameMkLst>
        </pc:graphicFrameChg>
      </pc:sldChg>
      <pc:sldChg chg="delSp modSp add mod">
        <pc:chgData name="Tường SKHĐT" userId="ab9568c39a88b08a" providerId="LiveId" clId="{BE80218A-C675-4EC2-AD94-24A89D98EEE1}" dt="2023-06-08T03:10:54.153" v="9181" actId="14100"/>
        <pc:sldMkLst>
          <pc:docMk/>
          <pc:sldMk cId="4129011505" sldId="2147473787"/>
        </pc:sldMkLst>
        <pc:spChg chg="mod">
          <ac:chgData name="Tường SKHĐT" userId="ab9568c39a88b08a" providerId="LiveId" clId="{BE80218A-C675-4EC2-AD94-24A89D98EEE1}" dt="2023-06-08T03:10:15.529" v="9174" actId="1076"/>
          <ac:spMkLst>
            <pc:docMk/>
            <pc:sldMk cId="4129011505" sldId="2147473787"/>
            <ac:spMk id="5" creationId="{9CBC7A17-9F40-F9E2-3D14-0D173740B2FD}"/>
          </ac:spMkLst>
        </pc:spChg>
        <pc:graphicFrameChg chg="del">
          <ac:chgData name="Tường SKHĐT" userId="ab9568c39a88b08a" providerId="LiveId" clId="{BE80218A-C675-4EC2-AD94-24A89D98EEE1}" dt="2023-06-07T07:50:12.607" v="2567" actId="21"/>
          <ac:graphicFrameMkLst>
            <pc:docMk/>
            <pc:sldMk cId="4129011505" sldId="2147473787"/>
            <ac:graphicFrameMk id="2" creationId="{74B794F2-F444-5B57-9140-254BFF55A77F}"/>
          </ac:graphicFrameMkLst>
        </pc:graphicFrameChg>
        <pc:graphicFrameChg chg="del mod">
          <ac:chgData name="Tường SKHĐT" userId="ab9568c39a88b08a" providerId="LiveId" clId="{BE80218A-C675-4EC2-AD94-24A89D98EEE1}" dt="2023-06-08T03:10:00.370" v="9169" actId="21"/>
          <ac:graphicFrameMkLst>
            <pc:docMk/>
            <pc:sldMk cId="4129011505" sldId="2147473787"/>
            <ac:graphicFrameMk id="2" creationId="{F952B670-10C5-B77B-85D8-0A3C1B9AA459}"/>
          </ac:graphicFrameMkLst>
        </pc:graphicFrameChg>
        <pc:graphicFrameChg chg="del mod">
          <ac:chgData name="Tường SKHĐT" userId="ab9568c39a88b08a" providerId="LiveId" clId="{BE80218A-C675-4EC2-AD94-24A89D98EEE1}" dt="2023-06-08T03:10:40.246" v="9176" actId="21"/>
          <ac:graphicFrameMkLst>
            <pc:docMk/>
            <pc:sldMk cId="4129011505" sldId="2147473787"/>
            <ac:graphicFrameMk id="3" creationId="{B80141FB-D12A-F7AB-9435-8DEB06333368}"/>
          </ac:graphicFrameMkLst>
        </pc:graphicFrameChg>
        <pc:graphicFrameChg chg="del mod">
          <ac:chgData name="Tường SKHĐT" userId="ab9568c39a88b08a" providerId="LiveId" clId="{BE80218A-C675-4EC2-AD94-24A89D98EEE1}" dt="2023-06-07T09:52:47.481" v="3527" actId="21"/>
          <ac:graphicFrameMkLst>
            <pc:docMk/>
            <pc:sldMk cId="4129011505" sldId="2147473787"/>
            <ac:graphicFrameMk id="3" creationId="{BE470081-4788-B470-D3C1-D07F4CD54F41}"/>
          </ac:graphicFrameMkLst>
        </pc:graphicFrameChg>
        <pc:graphicFrameChg chg="mod">
          <ac:chgData name="Tường SKHĐT" userId="ab9568c39a88b08a" providerId="LiveId" clId="{BE80218A-C675-4EC2-AD94-24A89D98EEE1}" dt="2023-06-08T03:10:54.153" v="9181" actId="14100"/>
          <ac:graphicFrameMkLst>
            <pc:docMk/>
            <pc:sldMk cId="4129011505" sldId="2147473787"/>
            <ac:graphicFrameMk id="4" creationId="{1E1F54CE-C9BF-155A-D488-BEAB0B32BA2A}"/>
          </ac:graphicFrameMkLst>
        </pc:graphicFrameChg>
      </pc:sldChg>
      <pc:sldChg chg="modSp add mod">
        <pc:chgData name="Tường SKHĐT" userId="ab9568c39a88b08a" providerId="LiveId" clId="{BE80218A-C675-4EC2-AD94-24A89D98EEE1}" dt="2023-06-07T09:45:47.859" v="3448" actId="14100"/>
        <pc:sldMkLst>
          <pc:docMk/>
          <pc:sldMk cId="2710295661" sldId="2147473788"/>
        </pc:sldMkLst>
        <pc:spChg chg="mod">
          <ac:chgData name="Tường SKHĐT" userId="ab9568c39a88b08a" providerId="LiveId" clId="{BE80218A-C675-4EC2-AD94-24A89D98EEE1}" dt="2023-06-07T07:50:19.581" v="2602" actId="20577"/>
          <ac:spMkLst>
            <pc:docMk/>
            <pc:sldMk cId="2710295661" sldId="2147473788"/>
            <ac:spMk id="5" creationId="{9CBC7A17-9F40-F9E2-3D14-0D173740B2FD}"/>
          </ac:spMkLst>
        </pc:spChg>
        <pc:graphicFrameChg chg="mod">
          <ac:chgData name="Tường SKHĐT" userId="ab9568c39a88b08a" providerId="LiveId" clId="{BE80218A-C675-4EC2-AD94-24A89D98EEE1}" dt="2023-06-07T09:45:47.859" v="3448" actId="14100"/>
          <ac:graphicFrameMkLst>
            <pc:docMk/>
            <pc:sldMk cId="2710295661" sldId="2147473788"/>
            <ac:graphicFrameMk id="2" creationId="{0C996FA6-9C08-A387-356B-3D6804031C5B}"/>
          </ac:graphicFrameMkLst>
        </pc:graphicFrameChg>
      </pc:sldChg>
      <pc:sldChg chg="addSp delSp modSp add del mod">
        <pc:chgData name="Tường SKHĐT" userId="ab9568c39a88b08a" providerId="LiveId" clId="{BE80218A-C675-4EC2-AD94-24A89D98EEE1}" dt="2023-06-07T09:41:55.778" v="3443" actId="2696"/>
        <pc:sldMkLst>
          <pc:docMk/>
          <pc:sldMk cId="2150765548" sldId="2147473789"/>
        </pc:sldMkLst>
        <pc:graphicFrameChg chg="mod modGraphic">
          <ac:chgData name="Tường SKHĐT" userId="ab9568c39a88b08a" providerId="LiveId" clId="{BE80218A-C675-4EC2-AD94-24A89D98EEE1}" dt="2023-06-07T09:32:28.374" v="3029" actId="14734"/>
          <ac:graphicFrameMkLst>
            <pc:docMk/>
            <pc:sldMk cId="2150765548" sldId="2147473789"/>
            <ac:graphicFrameMk id="2" creationId="{F0F002C0-4BF7-EF15-276A-B2D2E537FE49}"/>
          </ac:graphicFrameMkLst>
        </pc:graphicFrameChg>
        <pc:graphicFrameChg chg="add mod modGraphic">
          <ac:chgData name="Tường SKHĐT" userId="ab9568c39a88b08a" providerId="LiveId" clId="{BE80218A-C675-4EC2-AD94-24A89D98EEE1}" dt="2023-06-07T09:33:06.646" v="3084" actId="20577"/>
          <ac:graphicFrameMkLst>
            <pc:docMk/>
            <pc:sldMk cId="2150765548" sldId="2147473789"/>
            <ac:graphicFrameMk id="4" creationId="{8B2A91AF-00C2-B55E-A461-E4F4D180C7EB}"/>
          </ac:graphicFrameMkLst>
        </pc:graphicFrameChg>
        <pc:graphicFrameChg chg="del">
          <ac:chgData name="Tường SKHĐT" userId="ab9568c39a88b08a" providerId="LiveId" clId="{BE80218A-C675-4EC2-AD94-24A89D98EEE1}" dt="2023-06-07T09:29:49.859" v="2983" actId="21"/>
          <ac:graphicFrameMkLst>
            <pc:docMk/>
            <pc:sldMk cId="2150765548" sldId="2147473789"/>
            <ac:graphicFrameMk id="8" creationId="{B5E5335D-2EED-82AF-3A59-FAE8BB94EAE1}"/>
          </ac:graphicFrameMkLst>
        </pc:graphicFrameChg>
        <pc:picChg chg="del">
          <ac:chgData name="Tường SKHĐT" userId="ab9568c39a88b08a" providerId="LiveId" clId="{BE80218A-C675-4EC2-AD94-24A89D98EEE1}" dt="2023-06-07T09:29:47.379" v="2982" actId="478"/>
          <ac:picMkLst>
            <pc:docMk/>
            <pc:sldMk cId="2150765548" sldId="2147473789"/>
            <ac:picMk id="3" creationId="{9AF740F2-8657-5D2B-1E99-EF2B0034363B}"/>
          </ac:picMkLst>
        </pc:picChg>
        <pc:picChg chg="del">
          <ac:chgData name="Tường SKHĐT" userId="ab9568c39a88b08a" providerId="LiveId" clId="{BE80218A-C675-4EC2-AD94-24A89D98EEE1}" dt="2023-06-07T09:29:46.675" v="2981" actId="478"/>
          <ac:picMkLst>
            <pc:docMk/>
            <pc:sldMk cId="2150765548" sldId="2147473789"/>
            <ac:picMk id="7" creationId="{5CDE7AB5-FCC7-E08F-A14A-12072FF36A97}"/>
          </ac:picMkLst>
        </pc:picChg>
      </pc:sldChg>
      <pc:sldChg chg="delSp modSp add mod">
        <pc:chgData name="Tường SKHĐT" userId="ab9568c39a88b08a" providerId="LiveId" clId="{BE80218A-C675-4EC2-AD94-24A89D98EEE1}" dt="2023-06-08T02:57:51.843" v="9055" actId="14100"/>
        <pc:sldMkLst>
          <pc:docMk/>
          <pc:sldMk cId="1731010684" sldId="2147473790"/>
        </pc:sldMkLst>
        <pc:graphicFrameChg chg="del">
          <ac:chgData name="Tường SKHĐT" userId="ab9568c39a88b08a" providerId="LiveId" clId="{BE80218A-C675-4EC2-AD94-24A89D98EEE1}" dt="2023-06-07T09:34:34.271" v="3086" actId="21"/>
          <ac:graphicFrameMkLst>
            <pc:docMk/>
            <pc:sldMk cId="1731010684" sldId="2147473790"/>
            <ac:graphicFrameMk id="2" creationId="{F0F002C0-4BF7-EF15-276A-B2D2E537FE49}"/>
          </ac:graphicFrameMkLst>
        </pc:graphicFrameChg>
        <pc:graphicFrameChg chg="mod modGraphic">
          <ac:chgData name="Tường SKHĐT" userId="ab9568c39a88b08a" providerId="LiveId" clId="{BE80218A-C675-4EC2-AD94-24A89D98EEE1}" dt="2023-06-08T02:57:51.843" v="9055" actId="14100"/>
          <ac:graphicFrameMkLst>
            <pc:docMk/>
            <pc:sldMk cId="1731010684" sldId="2147473790"/>
            <ac:graphicFrameMk id="3" creationId="{D79F22DC-D739-66FE-CC98-638D607EB359}"/>
          </ac:graphicFrameMkLst>
        </pc:graphicFrameChg>
        <pc:graphicFrameChg chg="mod modGraphic">
          <ac:chgData name="Tường SKHĐT" userId="ab9568c39a88b08a" providerId="LiveId" clId="{BE80218A-C675-4EC2-AD94-24A89D98EEE1}" dt="2023-06-08T02:57:49.699" v="9054" actId="1076"/>
          <ac:graphicFrameMkLst>
            <pc:docMk/>
            <pc:sldMk cId="1731010684" sldId="2147473790"/>
            <ac:graphicFrameMk id="4" creationId="{8B2A91AF-00C2-B55E-A461-E4F4D180C7EB}"/>
          </ac:graphicFrameMkLst>
        </pc:graphicFrameChg>
      </pc:sldChg>
      <pc:sldChg chg="delSp modSp add mod">
        <pc:chgData name="Tường SKHĐT" userId="ab9568c39a88b08a" providerId="LiveId" clId="{BE80218A-C675-4EC2-AD94-24A89D98EEE1}" dt="2023-06-08T02:52:05.482" v="8497" actId="20577"/>
        <pc:sldMkLst>
          <pc:docMk/>
          <pc:sldMk cId="812425570" sldId="2147473791"/>
        </pc:sldMkLst>
        <pc:graphicFrameChg chg="mod">
          <ac:chgData name="Tường SKHĐT" userId="ab9568c39a88b08a" providerId="LiveId" clId="{BE80218A-C675-4EC2-AD94-24A89D98EEE1}" dt="2023-06-08T02:49:51.610" v="8481" actId="14100"/>
          <ac:graphicFrameMkLst>
            <pc:docMk/>
            <pc:sldMk cId="812425570" sldId="2147473791"/>
            <ac:graphicFrameMk id="2" creationId="{E6E86951-66A7-FC37-BDCB-1DAAF15D55F5}"/>
          </ac:graphicFrameMkLst>
        </pc:graphicFrameChg>
        <pc:graphicFrameChg chg="modGraphic">
          <ac:chgData name="Tường SKHĐT" userId="ab9568c39a88b08a" providerId="LiveId" clId="{BE80218A-C675-4EC2-AD94-24A89D98EEE1}" dt="2023-06-08T02:52:05.482" v="8497" actId="20577"/>
          <ac:graphicFrameMkLst>
            <pc:docMk/>
            <pc:sldMk cId="812425570" sldId="2147473791"/>
            <ac:graphicFrameMk id="3" creationId="{2B60E389-3C15-E216-2343-FACD1755B5AD}"/>
          </ac:graphicFrameMkLst>
        </pc:graphicFrameChg>
        <pc:graphicFrameChg chg="del">
          <ac:chgData name="Tường SKHĐT" userId="ab9568c39a88b08a" providerId="LiveId" clId="{BE80218A-C675-4EC2-AD94-24A89D98EEE1}" dt="2023-06-08T02:49:46.370" v="8479" actId="21"/>
          <ac:graphicFrameMkLst>
            <pc:docMk/>
            <pc:sldMk cId="812425570" sldId="2147473791"/>
            <ac:graphicFrameMk id="5" creationId="{A12A8C36-ABD5-9F37-3859-60C635D270CE}"/>
          </ac:graphicFrameMkLst>
        </pc:graphicFrameChg>
      </pc:sldChg>
      <pc:sldChg chg="addSp delSp modSp add mod">
        <pc:chgData name="Tường SKHĐT" userId="ab9568c39a88b08a" providerId="LiveId" clId="{BE80218A-C675-4EC2-AD94-24A89D98EEE1}" dt="2023-06-08T02:26:54.128" v="6610" actId="14100"/>
        <pc:sldMkLst>
          <pc:docMk/>
          <pc:sldMk cId="151479067" sldId="2147473792"/>
        </pc:sldMkLst>
        <pc:spChg chg="del">
          <ac:chgData name="Tường SKHĐT" userId="ab9568c39a88b08a" providerId="LiveId" clId="{BE80218A-C675-4EC2-AD94-24A89D98EEE1}" dt="2023-06-08T02:23:31.039" v="6588" actId="478"/>
          <ac:spMkLst>
            <pc:docMk/>
            <pc:sldMk cId="151479067" sldId="2147473792"/>
            <ac:spMk id="2" creationId="{80607D77-8D89-B2B8-17A1-5EC409702721}"/>
          </ac:spMkLst>
        </pc:spChg>
        <pc:spChg chg="del">
          <ac:chgData name="Tường SKHĐT" userId="ab9568c39a88b08a" providerId="LiveId" clId="{BE80218A-C675-4EC2-AD94-24A89D98EEE1}" dt="2023-06-08T02:23:35.620" v="6590" actId="21"/>
          <ac:spMkLst>
            <pc:docMk/>
            <pc:sldMk cId="151479067" sldId="2147473792"/>
            <ac:spMk id="3" creationId="{A0D5D58A-756E-802D-A09E-1BEA6D184E77}"/>
          </ac:spMkLst>
        </pc:spChg>
        <pc:spChg chg="del">
          <ac:chgData name="Tường SKHĐT" userId="ab9568c39a88b08a" providerId="LiveId" clId="{BE80218A-C675-4EC2-AD94-24A89D98EEE1}" dt="2023-06-08T02:23:26.018" v="6584" actId="478"/>
          <ac:spMkLst>
            <pc:docMk/>
            <pc:sldMk cId="151479067" sldId="2147473792"/>
            <ac:spMk id="4" creationId="{BBC7EEBC-AFA3-C4AC-D803-2EB717E2AF16}"/>
          </ac:spMkLst>
        </pc:spChg>
        <pc:spChg chg="del">
          <ac:chgData name="Tường SKHĐT" userId="ab9568c39a88b08a" providerId="LiveId" clId="{BE80218A-C675-4EC2-AD94-24A89D98EEE1}" dt="2023-06-08T02:23:38.583" v="6591" actId="21"/>
          <ac:spMkLst>
            <pc:docMk/>
            <pc:sldMk cId="151479067" sldId="2147473792"/>
            <ac:spMk id="6" creationId="{81B6DC98-C123-5771-E46D-17ED3EE03739}"/>
          </ac:spMkLst>
        </pc:spChg>
        <pc:spChg chg="del">
          <ac:chgData name="Tường SKHĐT" userId="ab9568c39a88b08a" providerId="LiveId" clId="{BE80218A-C675-4EC2-AD94-24A89D98EEE1}" dt="2023-06-08T02:23:26.018" v="6584" actId="478"/>
          <ac:spMkLst>
            <pc:docMk/>
            <pc:sldMk cId="151479067" sldId="2147473792"/>
            <ac:spMk id="7" creationId="{64BE4B93-62E9-2F63-31E4-4FC00E3A7867}"/>
          </ac:spMkLst>
        </pc:spChg>
        <pc:spChg chg="add mod">
          <ac:chgData name="Tường SKHĐT" userId="ab9568c39a88b08a" providerId="LiveId" clId="{BE80218A-C675-4EC2-AD94-24A89D98EEE1}" dt="2023-06-08T02:25:54.580" v="6606" actId="1076"/>
          <ac:spMkLst>
            <pc:docMk/>
            <pc:sldMk cId="151479067" sldId="2147473792"/>
            <ac:spMk id="9" creationId="{22359E8A-8D97-394A-42E1-F5A568F7E097}"/>
          </ac:spMkLst>
        </pc:spChg>
        <pc:spChg chg="del mod">
          <ac:chgData name="Tường SKHĐT" userId="ab9568c39a88b08a" providerId="LiveId" clId="{BE80218A-C675-4EC2-AD94-24A89D98EEE1}" dt="2023-06-08T02:23:33.364" v="6589" actId="478"/>
          <ac:spMkLst>
            <pc:docMk/>
            <pc:sldMk cId="151479067" sldId="2147473792"/>
            <ac:spMk id="12" creationId="{850931EF-4279-23FD-6428-18C12049025E}"/>
          </ac:spMkLst>
        </pc:spChg>
        <pc:spChg chg="del">
          <ac:chgData name="Tường SKHĐT" userId="ab9568c39a88b08a" providerId="LiveId" clId="{BE80218A-C675-4EC2-AD94-24A89D98EEE1}" dt="2023-06-08T02:23:26.018" v="6584" actId="478"/>
          <ac:spMkLst>
            <pc:docMk/>
            <pc:sldMk cId="151479067" sldId="2147473792"/>
            <ac:spMk id="13" creationId="{CFB1DF66-0E98-FC84-B508-AAB8AC25D4B3}"/>
          </ac:spMkLst>
        </pc:spChg>
        <pc:spChg chg="del">
          <ac:chgData name="Tường SKHĐT" userId="ab9568c39a88b08a" providerId="LiveId" clId="{BE80218A-C675-4EC2-AD94-24A89D98EEE1}" dt="2023-06-08T02:23:26.018" v="6584" actId="478"/>
          <ac:spMkLst>
            <pc:docMk/>
            <pc:sldMk cId="151479067" sldId="2147473792"/>
            <ac:spMk id="14" creationId="{2FB61F8A-9A24-43C5-EEAD-699E1478B087}"/>
          </ac:spMkLst>
        </pc:spChg>
        <pc:spChg chg="del">
          <ac:chgData name="Tường SKHĐT" userId="ab9568c39a88b08a" providerId="LiveId" clId="{BE80218A-C675-4EC2-AD94-24A89D98EEE1}" dt="2023-06-08T02:23:26.018" v="6584" actId="478"/>
          <ac:spMkLst>
            <pc:docMk/>
            <pc:sldMk cId="151479067" sldId="2147473792"/>
            <ac:spMk id="15" creationId="{741F0E28-9B46-DEE8-72B4-31C74A048999}"/>
          </ac:spMkLst>
        </pc:spChg>
        <pc:spChg chg="del">
          <ac:chgData name="Tường SKHĐT" userId="ab9568c39a88b08a" providerId="LiveId" clId="{BE80218A-C675-4EC2-AD94-24A89D98EEE1}" dt="2023-06-08T02:23:26.018" v="6584" actId="478"/>
          <ac:spMkLst>
            <pc:docMk/>
            <pc:sldMk cId="151479067" sldId="2147473792"/>
            <ac:spMk id="16" creationId="{CD1FFBD1-4EFA-ED54-8F81-E3C9559069D4}"/>
          </ac:spMkLst>
        </pc:spChg>
        <pc:spChg chg="del">
          <ac:chgData name="Tường SKHĐT" userId="ab9568c39a88b08a" providerId="LiveId" clId="{BE80218A-C675-4EC2-AD94-24A89D98EEE1}" dt="2023-06-08T02:23:26.018" v="6584" actId="478"/>
          <ac:spMkLst>
            <pc:docMk/>
            <pc:sldMk cId="151479067" sldId="2147473792"/>
            <ac:spMk id="19" creationId="{122A9A1C-AFFE-3821-B2D0-B1BF037AF2EA}"/>
          </ac:spMkLst>
        </pc:spChg>
        <pc:spChg chg="del">
          <ac:chgData name="Tường SKHĐT" userId="ab9568c39a88b08a" providerId="LiveId" clId="{BE80218A-C675-4EC2-AD94-24A89D98EEE1}" dt="2023-06-08T02:23:26.018" v="6584" actId="478"/>
          <ac:spMkLst>
            <pc:docMk/>
            <pc:sldMk cId="151479067" sldId="2147473792"/>
            <ac:spMk id="20" creationId="{9EFE970E-0B98-B556-3A4B-E26C7CAD10CA}"/>
          </ac:spMkLst>
        </pc:spChg>
        <pc:spChg chg="mod">
          <ac:chgData name="Tường SKHĐT" userId="ab9568c39a88b08a" providerId="LiveId" clId="{BE80218A-C675-4EC2-AD94-24A89D98EEE1}" dt="2023-06-08T02:25:50.642" v="6605" actId="20577"/>
          <ac:spMkLst>
            <pc:docMk/>
            <pc:sldMk cId="151479067" sldId="2147473792"/>
            <ac:spMk id="27" creationId="{01DC26C3-E6F4-C27A-8624-3A65D81B6008}"/>
          </ac:spMkLst>
        </pc:spChg>
        <pc:spChg chg="del">
          <ac:chgData name="Tường SKHĐT" userId="ab9568c39a88b08a" providerId="LiveId" clId="{BE80218A-C675-4EC2-AD94-24A89D98EEE1}" dt="2023-06-08T02:23:29.559" v="6586" actId="478"/>
          <ac:spMkLst>
            <pc:docMk/>
            <pc:sldMk cId="151479067" sldId="2147473792"/>
            <ac:spMk id="718" creationId="{00000000-0000-0000-0000-000000000000}"/>
          </ac:spMkLst>
        </pc:spChg>
        <pc:spChg chg="del">
          <ac:chgData name="Tường SKHĐT" userId="ab9568c39a88b08a" providerId="LiveId" clId="{BE80218A-C675-4EC2-AD94-24A89D98EEE1}" dt="2023-06-08T02:23:28.919" v="6585" actId="478"/>
          <ac:spMkLst>
            <pc:docMk/>
            <pc:sldMk cId="151479067" sldId="2147473792"/>
            <ac:spMk id="719"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0"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4"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5"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26" creationId="{00000000-0000-0000-0000-000000000000}"/>
          </ac:spMkLst>
        </pc:spChg>
        <pc:spChg chg="del">
          <ac:chgData name="Tường SKHĐT" userId="ab9568c39a88b08a" providerId="LiveId" clId="{BE80218A-C675-4EC2-AD94-24A89D98EEE1}" dt="2023-06-08T02:23:26.018" v="6584" actId="478"/>
          <ac:spMkLst>
            <pc:docMk/>
            <pc:sldMk cId="151479067" sldId="2147473792"/>
            <ac:spMk id="730" creationId="{76FC2223-CBDC-4B1C-A8C6-0DBB61B65684}"/>
          </ac:spMkLst>
        </pc:spChg>
        <pc:graphicFrameChg chg="del mod">
          <ac:chgData name="Tường SKHĐT" userId="ab9568c39a88b08a" providerId="LiveId" clId="{BE80218A-C675-4EC2-AD94-24A89D98EEE1}" dt="2023-06-08T02:26:40.597" v="6607" actId="21"/>
          <ac:graphicFrameMkLst>
            <pc:docMk/>
            <pc:sldMk cId="151479067" sldId="2147473792"/>
            <ac:graphicFrameMk id="8" creationId="{48610349-6D4D-58A8-26B3-A828CC1F4557}"/>
          </ac:graphicFrameMkLst>
        </pc:graphicFrameChg>
        <pc:graphicFrameChg chg="mod">
          <ac:chgData name="Tường SKHĐT" userId="ab9568c39a88b08a" providerId="LiveId" clId="{BE80218A-C675-4EC2-AD94-24A89D98EEE1}" dt="2023-06-08T02:26:54.128" v="6610" actId="14100"/>
          <ac:graphicFrameMkLst>
            <pc:docMk/>
            <pc:sldMk cId="151479067" sldId="2147473792"/>
            <ac:graphicFrameMk id="10" creationId="{B7D42763-B167-ACDC-27DF-8D808E8EF944}"/>
          </ac:graphicFrameMkLst>
        </pc:graphicFrameChg>
        <pc:picChg chg="del">
          <ac:chgData name="Tường SKHĐT" userId="ab9568c39a88b08a" providerId="LiveId" clId="{BE80218A-C675-4EC2-AD94-24A89D98EEE1}" dt="2023-06-08T02:23:26.018" v="6584" actId="478"/>
          <ac:picMkLst>
            <pc:docMk/>
            <pc:sldMk cId="151479067" sldId="2147473792"/>
            <ac:picMk id="5" creationId="{FA953A66-BAF1-340A-A407-B9DFF5A3A068}"/>
          </ac:picMkLst>
        </pc:picChg>
        <pc:cxnChg chg="del">
          <ac:chgData name="Tường SKHĐT" userId="ab9568c39a88b08a" providerId="LiveId" clId="{BE80218A-C675-4EC2-AD94-24A89D98EEE1}" dt="2023-06-08T02:23:26.018" v="6584" actId="478"/>
          <ac:cxnSpMkLst>
            <pc:docMk/>
            <pc:sldMk cId="151479067" sldId="2147473792"/>
            <ac:cxnSpMk id="22" creationId="{76FB1604-8EE6-1B4A-8BEC-955916948809}"/>
          </ac:cxnSpMkLst>
        </pc:cxnChg>
        <pc:cxnChg chg="del">
          <ac:chgData name="Tường SKHĐT" userId="ab9568c39a88b08a" providerId="LiveId" clId="{BE80218A-C675-4EC2-AD94-24A89D98EEE1}" dt="2023-06-08T02:23:26.018" v="6584" actId="478"/>
          <ac:cxnSpMkLst>
            <pc:docMk/>
            <pc:sldMk cId="151479067" sldId="2147473792"/>
            <ac:cxnSpMk id="24" creationId="{4E2C09AD-1B29-015F-4185-E01171AA1855}"/>
          </ac:cxnSpMkLst>
        </pc:cxnChg>
        <pc:cxnChg chg="del">
          <ac:chgData name="Tường SKHĐT" userId="ab9568c39a88b08a" providerId="LiveId" clId="{BE80218A-C675-4EC2-AD94-24A89D98EEE1}" dt="2023-06-08T02:23:26.018" v="6584" actId="478"/>
          <ac:cxnSpMkLst>
            <pc:docMk/>
            <pc:sldMk cId="151479067" sldId="2147473792"/>
            <ac:cxnSpMk id="26" creationId="{169C6F43-6D5B-95B4-AB42-3B41CFB5B6B7}"/>
          </ac:cxnSpMkLst>
        </pc:cxnChg>
      </pc:sldChg>
      <pc:sldChg chg="add del">
        <pc:chgData name="Tường SKHĐT" userId="ab9568c39a88b08a" providerId="LiveId" clId="{BE80218A-C675-4EC2-AD94-24A89D98EEE1}" dt="2023-06-08T04:17:48.250" v="9395" actId="2696"/>
        <pc:sldMkLst>
          <pc:docMk/>
          <pc:sldMk cId="573534521" sldId="2147473793"/>
        </pc:sldMkLst>
      </pc:sldChg>
      <pc:sldChg chg="modSp add mod">
        <pc:chgData name="Tường SKHĐT" userId="ab9568c39a88b08a" providerId="LiveId" clId="{BE80218A-C675-4EC2-AD94-24A89D98EEE1}" dt="2023-06-08T07:42:22.083" v="9695" actId="20577"/>
        <pc:sldMkLst>
          <pc:docMk/>
          <pc:sldMk cId="1616590400" sldId="2147473793"/>
        </pc:sldMkLst>
        <pc:graphicFrameChg chg="mod modGraphic">
          <ac:chgData name="Tường SKHĐT" userId="ab9568c39a88b08a" providerId="LiveId" clId="{BE80218A-C675-4EC2-AD94-24A89D98EEE1}" dt="2023-06-08T07:42:22.083" v="9695" actId="20577"/>
          <ac:graphicFrameMkLst>
            <pc:docMk/>
            <pc:sldMk cId="1616590400" sldId="2147473793"/>
            <ac:graphicFrameMk id="3" creationId="{2B60E389-3C15-E216-2343-FACD1755B5AD}"/>
          </ac:graphicFrameMkLst>
        </pc:graphicFrameChg>
      </pc:sldChg>
      <pc:sldChg chg="add del">
        <pc:chgData name="Tường SKHĐT" userId="ab9568c39a88b08a" providerId="LiveId" clId="{BE80218A-C675-4EC2-AD94-24A89D98EEE1}" dt="2023-06-08T07:23:13.294" v="9436" actId="2696"/>
        <pc:sldMkLst>
          <pc:docMk/>
          <pc:sldMk cId="2159402894" sldId="2147473793"/>
        </pc:sldMkLst>
      </pc:sldChg>
      <pc:sldChg chg="add del">
        <pc:chgData name="Tường SKHĐT" userId="ab9568c39a88b08a" providerId="LiveId" clId="{BE80218A-C675-4EC2-AD94-24A89D98EEE1}" dt="2023-06-08T04:20:17.097" v="9410" actId="2696"/>
        <pc:sldMkLst>
          <pc:docMk/>
          <pc:sldMk cId="2499444697" sldId="2147473793"/>
        </pc:sldMkLst>
      </pc:sldChg>
      <pc:sldChg chg="add del">
        <pc:chgData name="Tường SKHĐT" userId="ab9568c39a88b08a" providerId="LiveId" clId="{BE80218A-C675-4EC2-AD94-24A89D98EEE1}" dt="2023-06-08T07:21:17.045" v="9431" actId="2696"/>
        <pc:sldMkLst>
          <pc:docMk/>
          <pc:sldMk cId="2628435380" sldId="2147473793"/>
        </pc:sldMkLst>
      </pc:sldChg>
      <pc:sldChg chg="modSp add mod">
        <pc:chgData name="Tường SKHĐT" userId="ab9568c39a88b08a" providerId="LiveId" clId="{BE80218A-C675-4EC2-AD94-24A89D98EEE1}" dt="2023-06-08T07:40:10.286" v="9670" actId="20577"/>
        <pc:sldMkLst>
          <pc:docMk/>
          <pc:sldMk cId="2895207599" sldId="2147473794"/>
        </pc:sldMkLst>
        <pc:spChg chg="mod">
          <ac:chgData name="Tường SKHĐT" userId="ab9568c39a88b08a" providerId="LiveId" clId="{BE80218A-C675-4EC2-AD94-24A89D98EEE1}" dt="2023-06-08T07:38:31.910" v="9488" actId="1076"/>
          <ac:spMkLst>
            <pc:docMk/>
            <pc:sldMk cId="2895207599" sldId="2147473794"/>
            <ac:spMk id="2" creationId="{BB7D8E9C-B3F6-DD25-25B6-76818EE92AE6}"/>
          </ac:spMkLst>
        </pc:spChg>
        <pc:graphicFrameChg chg="mod modGraphic">
          <ac:chgData name="Tường SKHĐT" userId="ab9568c39a88b08a" providerId="LiveId" clId="{BE80218A-C675-4EC2-AD94-24A89D98EEE1}" dt="2023-06-08T07:40:10.286" v="9670" actId="20577"/>
          <ac:graphicFrameMkLst>
            <pc:docMk/>
            <pc:sldMk cId="2895207599" sldId="2147473794"/>
            <ac:graphicFrameMk id="3" creationId="{2B60E389-3C15-E216-2343-FACD1755B5AD}"/>
          </ac:graphicFrameMkLst>
        </pc:graphicFrameChg>
      </pc:sldChg>
      <pc:sldChg chg="delSp modSp add mod">
        <pc:chgData name="Tường SKHĐT" userId="ab9568c39a88b08a" providerId="LiveId" clId="{BE80218A-C675-4EC2-AD94-24A89D98EEE1}" dt="2023-06-08T07:49:06.856" v="10067" actId="20577"/>
        <pc:sldMkLst>
          <pc:docMk/>
          <pc:sldMk cId="2339715236" sldId="2147473795"/>
        </pc:sldMkLst>
        <pc:spChg chg="mod">
          <ac:chgData name="Tường SKHĐT" userId="ab9568c39a88b08a" providerId="LiveId" clId="{BE80218A-C675-4EC2-AD94-24A89D98EEE1}" dt="2023-06-08T07:43:35.658" v="9737" actId="20577"/>
          <ac:spMkLst>
            <pc:docMk/>
            <pc:sldMk cId="2339715236" sldId="2147473795"/>
            <ac:spMk id="9" creationId="{58F24AD0-F007-A590-583C-27B1A4CE0310}"/>
          </ac:spMkLst>
        </pc:spChg>
        <pc:graphicFrameChg chg="mod modGraphic">
          <ac:chgData name="Tường SKHĐT" userId="ab9568c39a88b08a" providerId="LiveId" clId="{BE80218A-C675-4EC2-AD94-24A89D98EEE1}" dt="2023-06-08T07:49:06.856" v="10067" actId="20577"/>
          <ac:graphicFrameMkLst>
            <pc:docMk/>
            <pc:sldMk cId="2339715236" sldId="2147473795"/>
            <ac:graphicFrameMk id="3" creationId="{1243D2EC-FD70-31EF-486E-0289B57D5A19}"/>
          </ac:graphicFrameMkLst>
        </pc:graphicFrameChg>
        <pc:graphicFrameChg chg="del">
          <ac:chgData name="Tường SKHĐT" userId="ab9568c39a88b08a" providerId="LiveId" clId="{BE80218A-C675-4EC2-AD94-24A89D98EEE1}" dt="2023-06-08T07:43:29.532" v="9734" actId="21"/>
          <ac:graphicFrameMkLst>
            <pc:docMk/>
            <pc:sldMk cId="2339715236" sldId="2147473795"/>
            <ac:graphicFrameMk id="5" creationId="{451E805E-275E-1A0E-FDC4-B15B1F672CF6}"/>
          </ac:graphicFrameMkLst>
        </pc:graphicFrameChg>
      </pc:sldChg>
    </pc:docChg>
  </pc:docChgLst>
  <pc:docChgLst>
    <pc:chgData name="Tường SKHĐT" userId="ab9568c39a88b08a" providerId="LiveId" clId="{C2DF36C6-49EB-47C8-B10C-4BCBDFF8EBE5}"/>
    <pc:docChg chg="undo custSel addSld delSld modSld">
      <pc:chgData name="Tường SKHĐT" userId="ab9568c39a88b08a" providerId="LiveId" clId="{C2DF36C6-49EB-47C8-B10C-4BCBDFF8EBE5}" dt="2023-04-03T09:12:01.203" v="807" actId="207"/>
      <pc:docMkLst>
        <pc:docMk/>
      </pc:docMkLst>
      <pc:sldChg chg="modSp">
        <pc:chgData name="Tường SKHĐT" userId="ab9568c39a88b08a" providerId="LiveId" clId="{C2DF36C6-49EB-47C8-B10C-4BCBDFF8EBE5}" dt="2023-04-03T07:54:48.863" v="720" actId="20577"/>
        <pc:sldMkLst>
          <pc:docMk/>
          <pc:sldMk cId="2016091477" sldId="608"/>
        </pc:sldMkLst>
        <pc:graphicFrameChg chg="mod">
          <ac:chgData name="Tường SKHĐT" userId="ab9568c39a88b08a" providerId="LiveId" clId="{C2DF36C6-49EB-47C8-B10C-4BCBDFF8EBE5}" dt="2023-04-03T07:54:48.863" v="720" actId="20577"/>
          <ac:graphicFrameMkLst>
            <pc:docMk/>
            <pc:sldMk cId="2016091477" sldId="608"/>
            <ac:graphicFrameMk id="6" creationId="{00000000-0000-0000-0000-000000000000}"/>
          </ac:graphicFrameMkLst>
        </pc:graphicFrameChg>
      </pc:sldChg>
      <pc:sldChg chg="modSp">
        <pc:chgData name="Tường SKHĐT" userId="ab9568c39a88b08a" providerId="LiveId" clId="{C2DF36C6-49EB-47C8-B10C-4BCBDFF8EBE5}" dt="2023-04-03T07:44:48.101" v="716" actId="20577"/>
        <pc:sldMkLst>
          <pc:docMk/>
          <pc:sldMk cId="2759319111" sldId="2147473541"/>
        </pc:sldMkLst>
        <pc:graphicFrameChg chg="mod">
          <ac:chgData name="Tường SKHĐT" userId="ab9568c39a88b08a" providerId="LiveId" clId="{C2DF36C6-49EB-47C8-B10C-4BCBDFF8EBE5}" dt="2023-04-03T07:44:48.101" v="716" actId="20577"/>
          <ac:graphicFrameMkLst>
            <pc:docMk/>
            <pc:sldMk cId="2759319111" sldId="2147473541"/>
            <ac:graphicFrameMk id="6" creationId="{00000000-0000-0000-0000-000000000000}"/>
          </ac:graphicFrameMkLst>
        </pc:graphicFrameChg>
      </pc:sldChg>
      <pc:sldChg chg="modSp">
        <pc:chgData name="Tường SKHĐT" userId="ab9568c39a88b08a" providerId="LiveId" clId="{C2DF36C6-49EB-47C8-B10C-4BCBDFF8EBE5}" dt="2023-04-03T07:44:51.097" v="718" actId="20577"/>
        <pc:sldMkLst>
          <pc:docMk/>
          <pc:sldMk cId="740355695" sldId="2147473583"/>
        </pc:sldMkLst>
        <pc:graphicFrameChg chg="mod">
          <ac:chgData name="Tường SKHĐT" userId="ab9568c39a88b08a" providerId="LiveId" clId="{C2DF36C6-49EB-47C8-B10C-4BCBDFF8EBE5}" dt="2023-04-03T07:44:51.097" v="718" actId="20577"/>
          <ac:graphicFrameMkLst>
            <pc:docMk/>
            <pc:sldMk cId="740355695" sldId="2147473583"/>
            <ac:graphicFrameMk id="6" creationId="{00000000-0000-0000-0000-000000000000}"/>
          </ac:graphicFrameMkLst>
        </pc:graphicFrameChg>
      </pc:sldChg>
      <pc:sldChg chg="del">
        <pc:chgData name="Tường SKHĐT" userId="ab9568c39a88b08a" providerId="LiveId" clId="{C2DF36C6-49EB-47C8-B10C-4BCBDFF8EBE5}" dt="2023-04-03T06:41:19.774" v="86" actId="2696"/>
        <pc:sldMkLst>
          <pc:docMk/>
          <pc:sldMk cId="3053452888" sldId="2147473633"/>
        </pc:sldMkLst>
      </pc:sldChg>
      <pc:sldChg chg="modSp mod">
        <pc:chgData name="Tường SKHĐT" userId="ab9568c39a88b08a" providerId="LiveId" clId="{C2DF36C6-49EB-47C8-B10C-4BCBDFF8EBE5}" dt="2023-04-03T07:55:45.782" v="721" actId="20577"/>
        <pc:sldMkLst>
          <pc:docMk/>
          <pc:sldMk cId="3797015765" sldId="2147473661"/>
        </pc:sldMkLst>
        <pc:spChg chg="mod">
          <ac:chgData name="Tường SKHĐT" userId="ab9568c39a88b08a" providerId="LiveId" clId="{C2DF36C6-49EB-47C8-B10C-4BCBDFF8EBE5}" dt="2023-04-03T07:55:45.782" v="721" actId="20577"/>
          <ac:spMkLst>
            <pc:docMk/>
            <pc:sldMk cId="3797015765" sldId="2147473661"/>
            <ac:spMk id="7" creationId="{CA70BC92-6CA9-4A1F-4B61-29A46D2A51FE}"/>
          </ac:spMkLst>
        </pc:spChg>
        <pc:graphicFrameChg chg="mod modGraphic">
          <ac:chgData name="Tường SKHĐT" userId="ab9568c39a88b08a" providerId="LiveId" clId="{C2DF36C6-49EB-47C8-B10C-4BCBDFF8EBE5}" dt="2023-04-03T06:45:49.748" v="223" actId="207"/>
          <ac:graphicFrameMkLst>
            <pc:docMk/>
            <pc:sldMk cId="3797015765" sldId="2147473661"/>
            <ac:graphicFrameMk id="2" creationId="{14EEF524-2669-CB3B-A2D7-1A3F0888A442}"/>
          </ac:graphicFrameMkLst>
        </pc:graphicFrameChg>
      </pc:sldChg>
      <pc:sldChg chg="modSp mod">
        <pc:chgData name="Tường SKHĐT" userId="ab9568c39a88b08a" providerId="LiveId" clId="{C2DF36C6-49EB-47C8-B10C-4BCBDFF8EBE5}" dt="2023-04-03T07:55:58.998" v="722" actId="20577"/>
        <pc:sldMkLst>
          <pc:docMk/>
          <pc:sldMk cId="3847146912" sldId="2147473680"/>
        </pc:sldMkLst>
        <pc:spChg chg="mod">
          <ac:chgData name="Tường SKHĐT" userId="ab9568c39a88b08a" providerId="LiveId" clId="{C2DF36C6-49EB-47C8-B10C-4BCBDFF8EBE5}" dt="2023-04-03T07:55:58.998" v="722" actId="20577"/>
          <ac:spMkLst>
            <pc:docMk/>
            <pc:sldMk cId="3847146912" sldId="2147473680"/>
            <ac:spMk id="7" creationId="{CA70BC92-6CA9-4A1F-4B61-29A46D2A51FE}"/>
          </ac:spMkLst>
        </pc:spChg>
      </pc:sldChg>
      <pc:sldChg chg="delSp modSp mod">
        <pc:chgData name="Tường SKHĐT" userId="ab9568c39a88b08a" providerId="LiveId" clId="{C2DF36C6-49EB-47C8-B10C-4BCBDFF8EBE5}" dt="2023-04-03T08:44:42.684" v="786" actId="1076"/>
        <pc:sldMkLst>
          <pc:docMk/>
          <pc:sldMk cId="2676458148" sldId="2147473686"/>
        </pc:sldMkLst>
        <pc:spChg chg="del">
          <ac:chgData name="Tường SKHĐT" userId="ab9568c39a88b08a" providerId="LiveId" clId="{C2DF36C6-49EB-47C8-B10C-4BCBDFF8EBE5}" dt="2023-04-03T08:43:38.203" v="764" actId="21"/>
          <ac:spMkLst>
            <pc:docMk/>
            <pc:sldMk cId="2676458148" sldId="2147473686"/>
            <ac:spMk id="4" creationId="{1A8C40CB-9A3D-D4B1-5127-3CB71E005871}"/>
          </ac:spMkLst>
        </pc:spChg>
        <pc:spChg chg="mod">
          <ac:chgData name="Tường SKHĐT" userId="ab9568c39a88b08a" providerId="LiveId" clId="{C2DF36C6-49EB-47C8-B10C-4BCBDFF8EBE5}" dt="2023-04-03T08:43:41.656" v="765" actId="1076"/>
          <ac:spMkLst>
            <pc:docMk/>
            <pc:sldMk cId="2676458148" sldId="2147473686"/>
            <ac:spMk id="6" creationId="{1CB0CB7C-2336-84B1-57C9-3361036915F6}"/>
          </ac:spMkLst>
        </pc:spChg>
        <pc:spChg chg="mod">
          <ac:chgData name="Tường SKHĐT" userId="ab9568c39a88b08a" providerId="LiveId" clId="{C2DF36C6-49EB-47C8-B10C-4BCBDFF8EBE5}" dt="2023-04-03T08:44:42.684" v="786" actId="1076"/>
          <ac:spMkLst>
            <pc:docMk/>
            <pc:sldMk cId="2676458148" sldId="2147473686"/>
            <ac:spMk id="7" creationId="{C04F4D96-45AD-953D-5897-218BC956CD36}"/>
          </ac:spMkLst>
        </pc:spChg>
        <pc:graphicFrameChg chg="mod">
          <ac:chgData name="Tường SKHĐT" userId="ab9568c39a88b08a" providerId="LiveId" clId="{C2DF36C6-49EB-47C8-B10C-4BCBDFF8EBE5}" dt="2023-04-03T08:44:37.906" v="785" actId="14100"/>
          <ac:graphicFrameMkLst>
            <pc:docMk/>
            <pc:sldMk cId="2676458148" sldId="2147473686"/>
            <ac:graphicFrameMk id="2" creationId="{7B70EAB1-08A9-24DB-D444-B254D15A656F}"/>
          </ac:graphicFrameMkLst>
        </pc:graphicFrameChg>
        <pc:graphicFrameChg chg="mod modGraphic">
          <ac:chgData name="Tường SKHĐT" userId="ab9568c39a88b08a" providerId="LiveId" clId="{C2DF36C6-49EB-47C8-B10C-4BCBDFF8EBE5}" dt="2023-04-03T08:44:31.010" v="783" actId="1076"/>
          <ac:graphicFrameMkLst>
            <pc:docMk/>
            <pc:sldMk cId="2676458148" sldId="2147473686"/>
            <ac:graphicFrameMk id="8" creationId="{B5E5335D-2EED-82AF-3A59-FAE8BB94EAE1}"/>
          </ac:graphicFrameMkLst>
        </pc:graphicFrameChg>
        <pc:picChg chg="mod">
          <ac:chgData name="Tường SKHĐT" userId="ab9568c39a88b08a" providerId="LiveId" clId="{C2DF36C6-49EB-47C8-B10C-4BCBDFF8EBE5}" dt="2023-04-03T08:44:29.416" v="782" actId="1076"/>
          <ac:picMkLst>
            <pc:docMk/>
            <pc:sldMk cId="2676458148" sldId="2147473686"/>
            <ac:picMk id="5" creationId="{1D012F1F-2D3E-DB73-FB3D-9CF264845674}"/>
          </ac:picMkLst>
        </pc:picChg>
      </pc:sldChg>
      <pc:sldChg chg="modSp">
        <pc:chgData name="Tường SKHĐT" userId="ab9568c39a88b08a" providerId="LiveId" clId="{C2DF36C6-49EB-47C8-B10C-4BCBDFF8EBE5}" dt="2023-04-03T08:40:35.435" v="763"/>
        <pc:sldMkLst>
          <pc:docMk/>
          <pc:sldMk cId="9563895" sldId="2147473687"/>
        </pc:sldMkLst>
        <pc:graphicFrameChg chg="mod">
          <ac:chgData name="Tường SKHĐT" userId="ab9568c39a88b08a" providerId="LiveId" clId="{C2DF36C6-49EB-47C8-B10C-4BCBDFF8EBE5}" dt="2023-04-03T08:40:35.435" v="763"/>
          <ac:graphicFrameMkLst>
            <pc:docMk/>
            <pc:sldMk cId="9563895" sldId="2147473687"/>
            <ac:graphicFrameMk id="4" creationId="{00000000-0000-0000-0000-000000000000}"/>
          </ac:graphicFrameMkLst>
        </pc:graphicFrameChg>
      </pc:sldChg>
      <pc:sldChg chg="addSp delSp modSp mod">
        <pc:chgData name="Tường SKHĐT" userId="ab9568c39a88b08a" providerId="LiveId" clId="{C2DF36C6-49EB-47C8-B10C-4BCBDFF8EBE5}" dt="2023-04-03T08:36:44.752" v="760" actId="1076"/>
        <pc:sldMkLst>
          <pc:docMk/>
          <pc:sldMk cId="1100242652" sldId="2147473690"/>
        </pc:sldMkLst>
        <pc:spChg chg="mod">
          <ac:chgData name="Tường SKHĐT" userId="ab9568c39a88b08a" providerId="LiveId" clId="{C2DF36C6-49EB-47C8-B10C-4BCBDFF8EBE5}" dt="2023-04-03T08:36:42.311" v="759" actId="1076"/>
          <ac:spMkLst>
            <pc:docMk/>
            <pc:sldMk cId="1100242652" sldId="2147473690"/>
            <ac:spMk id="3" creationId="{B12D2C4C-6F96-4E64-A8EB-31804EA17C25}"/>
          </ac:spMkLst>
        </pc:spChg>
        <pc:spChg chg="del">
          <ac:chgData name="Tường SKHĐT" userId="ab9568c39a88b08a" providerId="LiveId" clId="{C2DF36C6-49EB-47C8-B10C-4BCBDFF8EBE5}" dt="2023-04-03T08:36:37.218" v="757" actId="21"/>
          <ac:spMkLst>
            <pc:docMk/>
            <pc:sldMk cId="1100242652" sldId="2147473690"/>
            <ac:spMk id="7" creationId="{12B86A77-EB05-A4E8-D08E-230D247FC14A}"/>
          </ac:spMkLst>
        </pc:spChg>
        <pc:spChg chg="mod">
          <ac:chgData name="Tường SKHĐT" userId="ab9568c39a88b08a" providerId="LiveId" clId="{C2DF36C6-49EB-47C8-B10C-4BCBDFF8EBE5}" dt="2023-04-03T08:36:39.390" v="758" actId="1076"/>
          <ac:spMkLst>
            <pc:docMk/>
            <pc:sldMk cId="1100242652" sldId="2147473690"/>
            <ac:spMk id="9" creationId="{64F6FF76-FE74-0506-286A-B4F3B9584380}"/>
          </ac:spMkLst>
        </pc:spChg>
        <pc:grpChg chg="mod">
          <ac:chgData name="Tường SKHĐT" userId="ab9568c39a88b08a" providerId="LiveId" clId="{C2DF36C6-49EB-47C8-B10C-4BCBDFF8EBE5}" dt="2023-04-03T08:36:09.871" v="749" actId="164"/>
          <ac:grpSpMkLst>
            <pc:docMk/>
            <pc:sldMk cId="1100242652" sldId="2147473690"/>
            <ac:grpSpMk id="4" creationId="{DD6FE299-8573-1A4B-3C63-313A94891E7F}"/>
          </ac:grpSpMkLst>
        </pc:grpChg>
        <pc:grpChg chg="add mod">
          <ac:chgData name="Tường SKHĐT" userId="ab9568c39a88b08a" providerId="LiveId" clId="{C2DF36C6-49EB-47C8-B10C-4BCBDFF8EBE5}" dt="2023-04-03T08:36:18.851" v="752" actId="14100"/>
          <ac:grpSpMkLst>
            <pc:docMk/>
            <pc:sldMk cId="1100242652" sldId="2147473690"/>
            <ac:grpSpMk id="5" creationId="{ED42738F-27C6-7E3F-7A6C-6A0689648F30}"/>
          </ac:grpSpMkLst>
        </pc:grpChg>
        <pc:grpChg chg="mod">
          <ac:chgData name="Tường SKHĐT" userId="ab9568c39a88b08a" providerId="LiveId" clId="{C2DF36C6-49EB-47C8-B10C-4BCBDFF8EBE5}" dt="2023-04-03T08:36:09.871" v="749" actId="164"/>
          <ac:grpSpMkLst>
            <pc:docMk/>
            <pc:sldMk cId="1100242652" sldId="2147473690"/>
            <ac:grpSpMk id="6" creationId="{E56EEAD7-BA7C-5393-023B-57E291DB0A7A}"/>
          </ac:grpSpMkLst>
        </pc:grpChg>
        <pc:graphicFrameChg chg="add mod">
          <ac:chgData name="Tường SKHĐT" userId="ab9568c39a88b08a" providerId="LiveId" clId="{C2DF36C6-49EB-47C8-B10C-4BCBDFF8EBE5}" dt="2023-04-03T08:36:44.752" v="760" actId="1076"/>
          <ac:graphicFrameMkLst>
            <pc:docMk/>
            <pc:sldMk cId="1100242652" sldId="2147473690"/>
            <ac:graphicFrameMk id="8" creationId="{AD432798-B5B0-6CAD-96A6-CF4ADF38D922}"/>
          </ac:graphicFrameMkLst>
        </pc:graphicFrameChg>
        <pc:picChg chg="mod">
          <ac:chgData name="Tường SKHĐT" userId="ab9568c39a88b08a" providerId="LiveId" clId="{C2DF36C6-49EB-47C8-B10C-4BCBDFF8EBE5}" dt="2023-04-03T08:36:09.871" v="749" actId="164"/>
          <ac:picMkLst>
            <pc:docMk/>
            <pc:sldMk cId="1100242652" sldId="2147473690"/>
            <ac:picMk id="2" creationId="{5FCB53AA-6BFD-342E-CE53-282CBE00B9C3}"/>
          </ac:picMkLst>
        </pc:picChg>
        <pc:picChg chg="mod">
          <ac:chgData name="Tường SKHĐT" userId="ab9568c39a88b08a" providerId="LiveId" clId="{C2DF36C6-49EB-47C8-B10C-4BCBDFF8EBE5}" dt="2023-04-03T08:36:09.871" v="749" actId="164"/>
          <ac:picMkLst>
            <pc:docMk/>
            <pc:sldMk cId="1100242652" sldId="2147473690"/>
            <ac:picMk id="10" creationId="{1E5AC274-1FDC-ED10-46A7-61EEC50075A0}"/>
          </ac:picMkLst>
        </pc:picChg>
        <pc:picChg chg="mod">
          <ac:chgData name="Tường SKHĐT" userId="ab9568c39a88b08a" providerId="LiveId" clId="{C2DF36C6-49EB-47C8-B10C-4BCBDFF8EBE5}" dt="2023-04-03T08:36:09.871" v="749" actId="164"/>
          <ac:picMkLst>
            <pc:docMk/>
            <pc:sldMk cId="1100242652" sldId="2147473690"/>
            <ac:picMk id="12" creationId="{02B9306E-529A-4AF8-06B9-34FAF79AB840}"/>
          </ac:picMkLst>
        </pc:picChg>
      </pc:sldChg>
      <pc:sldChg chg="modSp del mod">
        <pc:chgData name="Tường SKHĐT" userId="ab9568c39a88b08a" providerId="LiveId" clId="{C2DF36C6-49EB-47C8-B10C-4BCBDFF8EBE5}" dt="2023-04-03T07:44:36.394" v="712" actId="2696"/>
        <pc:sldMkLst>
          <pc:docMk/>
          <pc:sldMk cId="1620823413" sldId="2147473701"/>
        </pc:sldMkLst>
        <pc:spChg chg="mod">
          <ac:chgData name="Tường SKHĐT" userId="ab9568c39a88b08a" providerId="LiveId" clId="{C2DF36C6-49EB-47C8-B10C-4BCBDFF8EBE5}" dt="2023-04-03T06:59:46.056" v="325" actId="1076"/>
          <ac:spMkLst>
            <pc:docMk/>
            <pc:sldMk cId="1620823413" sldId="2147473701"/>
            <ac:spMk id="2" creationId="{D73C606B-AAEF-247E-530A-5EAC9C46FF0B}"/>
          </ac:spMkLst>
        </pc:spChg>
      </pc:sldChg>
      <pc:sldChg chg="modSp mod">
        <pc:chgData name="Tường SKHĐT" userId="ab9568c39a88b08a" providerId="LiveId" clId="{C2DF36C6-49EB-47C8-B10C-4BCBDFF8EBE5}" dt="2023-04-03T09:12:01.203" v="807" actId="207"/>
        <pc:sldMkLst>
          <pc:docMk/>
          <pc:sldMk cId="2166843381" sldId="2147473703"/>
        </pc:sldMkLst>
        <pc:graphicFrameChg chg="modGraphic">
          <ac:chgData name="Tường SKHĐT" userId="ab9568c39a88b08a" providerId="LiveId" clId="{C2DF36C6-49EB-47C8-B10C-4BCBDFF8EBE5}" dt="2023-04-03T09:12:01.203" v="807" actId="207"/>
          <ac:graphicFrameMkLst>
            <pc:docMk/>
            <pc:sldMk cId="2166843381" sldId="2147473703"/>
            <ac:graphicFrameMk id="2" creationId="{00000000-0000-0000-0000-000000000000}"/>
          </ac:graphicFrameMkLst>
        </pc:graphicFrameChg>
      </pc:sldChg>
      <pc:sldChg chg="modSp del mod">
        <pc:chgData name="Tường SKHĐT" userId="ab9568c39a88b08a" providerId="LiveId" clId="{C2DF36C6-49EB-47C8-B10C-4BCBDFF8EBE5}" dt="2023-04-03T07:43:14.912" v="704" actId="2696"/>
        <pc:sldMkLst>
          <pc:docMk/>
          <pc:sldMk cId="1376140427" sldId="2147473712"/>
        </pc:sldMkLst>
        <pc:graphicFrameChg chg="mod modGraphic">
          <ac:chgData name="Tường SKHĐT" userId="ab9568c39a88b08a" providerId="LiveId" clId="{C2DF36C6-49EB-47C8-B10C-4BCBDFF8EBE5}" dt="2023-04-03T07:42:22.959" v="702" actId="20577"/>
          <ac:graphicFrameMkLst>
            <pc:docMk/>
            <pc:sldMk cId="1376140427" sldId="2147473712"/>
            <ac:graphicFrameMk id="2" creationId="{01E1D347-08F2-16DA-B029-A5A84E46F07B}"/>
          </ac:graphicFrameMkLst>
        </pc:graphicFrameChg>
        <pc:picChg chg="mod">
          <ac:chgData name="Tường SKHĐT" userId="ab9568c39a88b08a" providerId="LiveId" clId="{C2DF36C6-49EB-47C8-B10C-4BCBDFF8EBE5}" dt="2023-04-03T07:36:53.009" v="349" actId="14100"/>
          <ac:picMkLst>
            <pc:docMk/>
            <pc:sldMk cId="1376140427" sldId="2147473712"/>
            <ac:picMk id="4" creationId="{5062DEE3-5B6A-4D86-20A6-B596F2C283B7}"/>
          </ac:picMkLst>
        </pc:picChg>
      </pc:sldChg>
      <pc:sldChg chg="modSp add mod">
        <pc:chgData name="Tường SKHĐT" userId="ab9568c39a88b08a" providerId="LiveId" clId="{C2DF36C6-49EB-47C8-B10C-4BCBDFF8EBE5}" dt="2023-04-03T06:41:12.989" v="85" actId="14100"/>
        <pc:sldMkLst>
          <pc:docMk/>
          <pc:sldMk cId="3922024460" sldId="2147473718"/>
        </pc:sldMkLst>
        <pc:spChg chg="mod">
          <ac:chgData name="Tường SKHĐT" userId="ab9568c39a88b08a" providerId="LiveId" clId="{C2DF36C6-49EB-47C8-B10C-4BCBDFF8EBE5}" dt="2023-04-03T06:41:12.989" v="85" actId="14100"/>
          <ac:spMkLst>
            <pc:docMk/>
            <pc:sldMk cId="3922024460" sldId="2147473718"/>
            <ac:spMk id="25" creationId="{01DC26C3-E6F4-C27A-8624-3A65D81B6008}"/>
          </ac:spMkLst>
        </pc:spChg>
      </pc:sldChg>
      <pc:sldChg chg="delSp modSp add mod">
        <pc:chgData name="Tường SKHĐT" userId="ab9568c39a88b08a" providerId="LiveId" clId="{C2DF36C6-49EB-47C8-B10C-4BCBDFF8EBE5}" dt="2023-04-03T06:42:06.865" v="204" actId="14100"/>
        <pc:sldMkLst>
          <pc:docMk/>
          <pc:sldMk cId="3384527337" sldId="2147473719"/>
        </pc:sldMkLst>
        <pc:spChg chg="mod">
          <ac:chgData name="Tường SKHĐT" userId="ab9568c39a88b08a" providerId="LiveId" clId="{C2DF36C6-49EB-47C8-B10C-4BCBDFF8EBE5}" dt="2023-04-03T06:41:47.620" v="202" actId="14100"/>
          <ac:spMkLst>
            <pc:docMk/>
            <pc:sldMk cId="3384527337" sldId="2147473719"/>
            <ac:spMk id="25" creationId="{01DC26C3-E6F4-C27A-8624-3A65D81B6008}"/>
          </ac:spMkLst>
        </pc:spChg>
        <pc:graphicFrameChg chg="mod">
          <ac:chgData name="Tường SKHĐT" userId="ab9568c39a88b08a" providerId="LiveId" clId="{C2DF36C6-49EB-47C8-B10C-4BCBDFF8EBE5}" dt="2023-04-03T06:42:06.865" v="204" actId="14100"/>
          <ac:graphicFrameMkLst>
            <pc:docMk/>
            <pc:sldMk cId="3384527337" sldId="2147473719"/>
            <ac:graphicFrameMk id="2" creationId="{57F4821D-6B7B-B725-598E-883DE383C235}"/>
          </ac:graphicFrameMkLst>
        </pc:graphicFrameChg>
        <pc:graphicFrameChg chg="del">
          <ac:chgData name="Tường SKHĐT" userId="ab9568c39a88b08a" providerId="LiveId" clId="{C2DF36C6-49EB-47C8-B10C-4BCBDFF8EBE5}" dt="2023-04-03T06:41:28.797" v="88" actId="21"/>
          <ac:graphicFrameMkLst>
            <pc:docMk/>
            <pc:sldMk cId="3384527337" sldId="2147473719"/>
            <ac:graphicFrameMk id="3" creationId="{00000000-0000-0000-0000-000000000000}"/>
          </ac:graphicFrameMkLst>
        </pc:graphicFrameChg>
      </pc:sldChg>
      <pc:sldChg chg="modSp add mod">
        <pc:chgData name="Tường SKHĐT" userId="ab9568c39a88b08a" providerId="LiveId" clId="{C2DF36C6-49EB-47C8-B10C-4BCBDFF8EBE5}" dt="2023-04-03T07:43:39.098" v="710" actId="20577"/>
        <pc:sldMkLst>
          <pc:docMk/>
          <pc:sldMk cId="1186956175" sldId="2147473720"/>
        </pc:sldMkLst>
        <pc:graphicFrameChg chg="mod modGraphic">
          <ac:chgData name="Tường SKHĐT" userId="ab9568c39a88b08a" providerId="LiveId" clId="{C2DF36C6-49EB-47C8-B10C-4BCBDFF8EBE5}" dt="2023-04-03T07:43:39.098" v="710" actId="20577"/>
          <ac:graphicFrameMkLst>
            <pc:docMk/>
            <pc:sldMk cId="1186956175" sldId="2147473720"/>
            <ac:graphicFrameMk id="2" creationId="{01E1D347-08F2-16DA-B029-A5A84E46F07B}"/>
          </ac:graphicFrameMkLst>
        </pc:graphicFrameChg>
      </pc:sldChg>
      <pc:sldChg chg="modSp add">
        <pc:chgData name="Tường SKHĐT" userId="ab9568c39a88b08a" providerId="LiveId" clId="{C2DF36C6-49EB-47C8-B10C-4BCBDFF8EBE5}" dt="2023-04-03T07:44:45.098" v="714" actId="20577"/>
        <pc:sldMkLst>
          <pc:docMk/>
          <pc:sldMk cId="912302037" sldId="2147473721"/>
        </pc:sldMkLst>
        <pc:graphicFrameChg chg="mod">
          <ac:chgData name="Tường SKHĐT" userId="ab9568c39a88b08a" providerId="LiveId" clId="{C2DF36C6-49EB-47C8-B10C-4BCBDFF8EBE5}" dt="2023-04-03T07:44:45.098" v="714" actId="20577"/>
          <ac:graphicFrameMkLst>
            <pc:docMk/>
            <pc:sldMk cId="912302037" sldId="2147473721"/>
            <ac:graphicFrameMk id="6" creationId="{00000000-0000-0000-0000-000000000000}"/>
          </ac:graphicFrameMkLst>
        </pc:graphicFrameChg>
      </pc:sldChg>
      <pc:sldChg chg="delSp modSp add del mod">
        <pc:chgData name="Tường SKHĐT" userId="ab9568c39a88b08a" providerId="LiveId" clId="{C2DF36C6-49EB-47C8-B10C-4BCBDFF8EBE5}" dt="2023-04-03T08:36:49.803" v="761" actId="2696"/>
        <pc:sldMkLst>
          <pc:docMk/>
          <pc:sldMk cId="2576528318" sldId="2147473722"/>
        </pc:sldMkLst>
        <pc:spChg chg="del">
          <ac:chgData name="Tường SKHĐT" userId="ab9568c39a88b08a" providerId="LiveId" clId="{C2DF36C6-49EB-47C8-B10C-4BCBDFF8EBE5}" dt="2023-04-03T08:34:10.426" v="724" actId="478"/>
          <ac:spMkLst>
            <pc:docMk/>
            <pc:sldMk cId="2576528318" sldId="2147473722"/>
            <ac:spMk id="3" creationId="{B12D2C4C-6F96-4E64-A8EB-31804EA17C25}"/>
          </ac:spMkLst>
        </pc:spChg>
        <pc:grpChg chg="del">
          <ac:chgData name="Tường SKHĐT" userId="ab9568c39a88b08a" providerId="LiveId" clId="{C2DF36C6-49EB-47C8-B10C-4BCBDFF8EBE5}" dt="2023-04-03T08:34:10.426" v="724" actId="478"/>
          <ac:grpSpMkLst>
            <pc:docMk/>
            <pc:sldMk cId="2576528318" sldId="2147473722"/>
            <ac:grpSpMk id="4" creationId="{DD6FE299-8573-1A4B-3C63-313A94891E7F}"/>
          </ac:grpSpMkLst>
        </pc:grpChg>
        <pc:grpChg chg="del">
          <ac:chgData name="Tường SKHĐT" userId="ab9568c39a88b08a" providerId="LiveId" clId="{C2DF36C6-49EB-47C8-B10C-4BCBDFF8EBE5}" dt="2023-04-03T08:34:10.426" v="724" actId="478"/>
          <ac:grpSpMkLst>
            <pc:docMk/>
            <pc:sldMk cId="2576528318" sldId="2147473722"/>
            <ac:grpSpMk id="6" creationId="{E56EEAD7-BA7C-5393-023B-57E291DB0A7A}"/>
          </ac:grpSpMkLst>
        </pc:grpChg>
        <pc:graphicFrameChg chg="del">
          <ac:chgData name="Tường SKHĐT" userId="ab9568c39a88b08a" providerId="LiveId" clId="{C2DF36C6-49EB-47C8-B10C-4BCBDFF8EBE5}" dt="2023-04-03T08:34:31.998" v="725" actId="21"/>
          <ac:graphicFrameMkLst>
            <pc:docMk/>
            <pc:sldMk cId="2576528318" sldId="2147473722"/>
            <ac:graphicFrameMk id="5" creationId="{49C2B91F-37BB-45D7-6971-5F5F9DAA2EA6}"/>
          </ac:graphicFrameMkLst>
        </pc:graphicFrameChg>
        <pc:graphicFrameChg chg="mod">
          <ac:chgData name="Tường SKHĐT" userId="ab9568c39a88b08a" providerId="LiveId" clId="{C2DF36C6-49EB-47C8-B10C-4BCBDFF8EBE5}" dt="2023-04-03T08:34:57.090" v="729" actId="1076"/>
          <ac:graphicFrameMkLst>
            <pc:docMk/>
            <pc:sldMk cId="2576528318" sldId="2147473722"/>
            <ac:graphicFrameMk id="8" creationId="{4ADF6C0B-34CE-29D7-73E7-4E86540D39D3}"/>
          </ac:graphicFrameMkLst>
        </pc:graphicFrameChg>
        <pc:picChg chg="del">
          <ac:chgData name="Tường SKHĐT" userId="ab9568c39a88b08a" providerId="LiveId" clId="{C2DF36C6-49EB-47C8-B10C-4BCBDFF8EBE5}" dt="2023-04-03T08:34:10.426" v="724" actId="478"/>
          <ac:picMkLst>
            <pc:docMk/>
            <pc:sldMk cId="2576528318" sldId="2147473722"/>
            <ac:picMk id="2" creationId="{5FCB53AA-6BFD-342E-CE53-282CBE00B9C3}"/>
          </ac:picMkLst>
        </pc:picChg>
        <pc:picChg chg="del">
          <ac:chgData name="Tường SKHĐT" userId="ab9568c39a88b08a" providerId="LiveId" clId="{C2DF36C6-49EB-47C8-B10C-4BCBDFF8EBE5}" dt="2023-04-03T08:34:10.426" v="724" actId="478"/>
          <ac:picMkLst>
            <pc:docMk/>
            <pc:sldMk cId="2576528318" sldId="2147473722"/>
            <ac:picMk id="10" creationId="{1E5AC274-1FDC-ED10-46A7-61EEC50075A0}"/>
          </ac:picMkLst>
        </pc:picChg>
        <pc:picChg chg="del">
          <ac:chgData name="Tường SKHĐT" userId="ab9568c39a88b08a" providerId="LiveId" clId="{C2DF36C6-49EB-47C8-B10C-4BCBDFF8EBE5}" dt="2023-04-03T08:34:10.426" v="724" actId="478"/>
          <ac:picMkLst>
            <pc:docMk/>
            <pc:sldMk cId="2576528318" sldId="2147473722"/>
            <ac:picMk id="12" creationId="{02B9306E-529A-4AF8-06B9-34FAF79AB840}"/>
          </ac:picMkLst>
        </pc:picChg>
      </pc:sldChg>
      <pc:sldChg chg="delSp modSp add mod">
        <pc:chgData name="Tường SKHĐT" userId="ab9568c39a88b08a" providerId="LiveId" clId="{C2DF36C6-49EB-47C8-B10C-4BCBDFF8EBE5}" dt="2023-04-03T09:10:23.230" v="804" actId="1076"/>
        <pc:sldMkLst>
          <pc:docMk/>
          <pc:sldMk cId="2943774504" sldId="2147473722"/>
        </pc:sldMkLst>
        <pc:graphicFrameChg chg="del">
          <ac:chgData name="Tường SKHĐT" userId="ab9568c39a88b08a" providerId="LiveId" clId="{C2DF36C6-49EB-47C8-B10C-4BCBDFF8EBE5}" dt="2023-04-03T09:04:10.246" v="788" actId="21"/>
          <ac:graphicFrameMkLst>
            <pc:docMk/>
            <pc:sldMk cId="2943774504" sldId="2147473722"/>
            <ac:graphicFrameMk id="2" creationId="{7B70EAB1-08A9-24DB-D444-B254D15A656F}"/>
          </ac:graphicFrameMkLst>
        </pc:graphicFrameChg>
        <pc:graphicFrameChg chg="del mod">
          <ac:chgData name="Tường SKHĐT" userId="ab9568c39a88b08a" providerId="LiveId" clId="{C2DF36C6-49EB-47C8-B10C-4BCBDFF8EBE5}" dt="2023-04-03T09:04:39.540" v="795"/>
          <ac:graphicFrameMkLst>
            <pc:docMk/>
            <pc:sldMk cId="2943774504" sldId="2147473722"/>
            <ac:graphicFrameMk id="3" creationId="{16264766-DD99-594F-D75E-C41FE0258D6F}"/>
          </ac:graphicFrameMkLst>
        </pc:graphicFrameChg>
        <pc:graphicFrameChg chg="del mod">
          <ac:chgData name="Tường SKHĐT" userId="ab9568c39a88b08a" providerId="LiveId" clId="{C2DF36C6-49EB-47C8-B10C-4BCBDFF8EBE5}" dt="2023-04-03T09:05:24.813" v="798" actId="21"/>
          <ac:graphicFrameMkLst>
            <pc:docMk/>
            <pc:sldMk cId="2943774504" sldId="2147473722"/>
            <ac:graphicFrameMk id="4" creationId="{6097324B-E7AA-6A4B-3221-4F34992880B9}"/>
          </ac:graphicFrameMkLst>
        </pc:graphicFrameChg>
        <pc:graphicFrameChg chg="del">
          <ac:chgData name="Tường SKHĐT" userId="ab9568c39a88b08a" providerId="LiveId" clId="{C2DF36C6-49EB-47C8-B10C-4BCBDFF8EBE5}" dt="2023-04-03T09:04:14.003" v="789" actId="21"/>
          <ac:graphicFrameMkLst>
            <pc:docMk/>
            <pc:sldMk cId="2943774504" sldId="2147473722"/>
            <ac:graphicFrameMk id="8" creationId="{B5E5335D-2EED-82AF-3A59-FAE8BB94EAE1}"/>
          </ac:graphicFrameMkLst>
        </pc:graphicFrameChg>
        <pc:graphicFrameChg chg="del mod">
          <ac:chgData name="Tường SKHĐT" userId="ab9568c39a88b08a" providerId="LiveId" clId="{C2DF36C6-49EB-47C8-B10C-4BCBDFF8EBE5}" dt="2023-04-03T09:10:13.235" v="802" actId="21"/>
          <ac:graphicFrameMkLst>
            <pc:docMk/>
            <pc:sldMk cId="2943774504" sldId="2147473722"/>
            <ac:graphicFrameMk id="9" creationId="{E0CDD767-B876-7050-02BE-FE7717F377E0}"/>
          </ac:graphicFrameMkLst>
        </pc:graphicFrameChg>
        <pc:graphicFrameChg chg="mod">
          <ac:chgData name="Tường SKHĐT" userId="ab9568c39a88b08a" providerId="LiveId" clId="{C2DF36C6-49EB-47C8-B10C-4BCBDFF8EBE5}" dt="2023-04-03T09:10:23.230" v="804" actId="1076"/>
          <ac:graphicFrameMkLst>
            <pc:docMk/>
            <pc:sldMk cId="2943774504" sldId="2147473722"/>
            <ac:graphicFrameMk id="10" creationId="{4DA33CA2-D53A-5909-6F0A-1CAF1ED730EB}"/>
          </ac:graphicFrameMkLst>
        </pc:graphicFrameChg>
        <pc:picChg chg="del">
          <ac:chgData name="Tường SKHĐT" userId="ab9568c39a88b08a" providerId="LiveId" clId="{C2DF36C6-49EB-47C8-B10C-4BCBDFF8EBE5}" dt="2023-04-03T09:04:16.214" v="790" actId="21"/>
          <ac:picMkLst>
            <pc:docMk/>
            <pc:sldMk cId="2943774504" sldId="2147473722"/>
            <ac:picMk id="5" creationId="{1D012F1F-2D3E-DB73-FB3D-9CF264845674}"/>
          </ac:picMkLst>
        </pc:picChg>
      </pc:sldChg>
    </pc:docChg>
  </pc:docChgLst>
  <pc:docChgLst>
    <pc:chgData name="Tường SKHĐT" userId="ab9568c39a88b08a" providerId="LiveId" clId="{A0A1AF5B-C8A6-4505-B2BC-7B9D5E4B6587}"/>
    <pc:docChg chg="undo custSel addSld delSld modSld">
      <pc:chgData name="Tường SKHĐT" userId="ab9568c39a88b08a" providerId="LiveId" clId="{A0A1AF5B-C8A6-4505-B2BC-7B9D5E4B6587}" dt="2023-06-12T07:09:15.857" v="4671" actId="20577"/>
      <pc:docMkLst>
        <pc:docMk/>
      </pc:docMkLst>
      <pc:sldChg chg="modSp mod">
        <pc:chgData name="Tường SKHĐT" userId="ab9568c39a88b08a" providerId="LiveId" clId="{A0A1AF5B-C8A6-4505-B2BC-7B9D5E4B6587}" dt="2023-06-12T05:09:57.630" v="2317" actId="1035"/>
        <pc:sldMkLst>
          <pc:docMk/>
          <pc:sldMk cId="1167827339" sldId="312"/>
        </pc:sldMkLst>
        <pc:spChg chg="mod">
          <ac:chgData name="Tường SKHĐT" userId="ab9568c39a88b08a" providerId="LiveId" clId="{A0A1AF5B-C8A6-4505-B2BC-7B9D5E4B6587}" dt="2023-06-12T05:09:53.062" v="2302" actId="1076"/>
          <ac:spMkLst>
            <pc:docMk/>
            <pc:sldMk cId="1167827339" sldId="312"/>
            <ac:spMk id="17" creationId="{ABDAFB93-63EF-7B44-9F8D-34E91B303021}"/>
          </ac:spMkLst>
        </pc:spChg>
        <pc:grpChg chg="mod">
          <ac:chgData name="Tường SKHĐT" userId="ab9568c39a88b08a" providerId="LiveId" clId="{A0A1AF5B-C8A6-4505-B2BC-7B9D5E4B6587}" dt="2023-06-12T05:09:57.630" v="2317" actId="1035"/>
          <ac:grpSpMkLst>
            <pc:docMk/>
            <pc:sldMk cId="1167827339" sldId="312"/>
            <ac:grpSpMk id="8" creationId="{71926BB6-FD2C-E0A1-6D7A-1C8DE5F37095}"/>
          </ac:grpSpMkLst>
        </pc:grpChg>
        <pc:grpChg chg="mod">
          <ac:chgData name="Tường SKHĐT" userId="ab9568c39a88b08a" providerId="LiveId" clId="{A0A1AF5B-C8A6-4505-B2BC-7B9D5E4B6587}" dt="2023-06-12T05:09:57.630" v="2317" actId="1035"/>
          <ac:grpSpMkLst>
            <pc:docMk/>
            <pc:sldMk cId="1167827339" sldId="312"/>
            <ac:grpSpMk id="10" creationId="{AAE994BC-EAFC-C98F-4EFE-BE918FD1A61C}"/>
          </ac:grpSpMkLst>
        </pc:grpChg>
        <pc:grpChg chg="mod">
          <ac:chgData name="Tường SKHĐT" userId="ab9568c39a88b08a" providerId="LiveId" clId="{A0A1AF5B-C8A6-4505-B2BC-7B9D5E4B6587}" dt="2023-06-12T05:09:57.630" v="2317" actId="1035"/>
          <ac:grpSpMkLst>
            <pc:docMk/>
            <pc:sldMk cId="1167827339" sldId="312"/>
            <ac:grpSpMk id="15" creationId="{8F41933D-4B99-8032-B10E-DD321A43A5B8}"/>
          </ac:grpSpMkLst>
        </pc:grpChg>
        <pc:grpChg chg="mod">
          <ac:chgData name="Tường SKHĐT" userId="ab9568c39a88b08a" providerId="LiveId" clId="{A0A1AF5B-C8A6-4505-B2BC-7B9D5E4B6587}" dt="2023-06-12T05:09:57.630" v="2317" actId="1035"/>
          <ac:grpSpMkLst>
            <pc:docMk/>
            <pc:sldMk cId="1167827339" sldId="312"/>
            <ac:grpSpMk id="44" creationId="{625077EF-140C-4D6F-E73A-0FB58A172694}"/>
          </ac:grpSpMkLst>
        </pc:grpChg>
        <pc:grpChg chg="mod">
          <ac:chgData name="Tường SKHĐT" userId="ab9568c39a88b08a" providerId="LiveId" clId="{A0A1AF5B-C8A6-4505-B2BC-7B9D5E4B6587}" dt="2023-06-12T05:09:57.630" v="2317" actId="1035"/>
          <ac:grpSpMkLst>
            <pc:docMk/>
            <pc:sldMk cId="1167827339" sldId="312"/>
            <ac:grpSpMk id="45" creationId="{6F7196B4-23D0-A53D-E5FA-209403C9EE8E}"/>
          </ac:grpSpMkLst>
        </pc:grpChg>
        <pc:picChg chg="mod">
          <ac:chgData name="Tường SKHĐT" userId="ab9568c39a88b08a" providerId="LiveId" clId="{A0A1AF5B-C8A6-4505-B2BC-7B9D5E4B6587}" dt="2023-06-12T05:09:57.630" v="2317" actId="1035"/>
          <ac:picMkLst>
            <pc:docMk/>
            <pc:sldMk cId="1167827339" sldId="312"/>
            <ac:picMk id="47" creationId="{CC005B64-750F-0970-3CD5-C7E58D330D2A}"/>
          </ac:picMkLst>
        </pc:picChg>
        <pc:picChg chg="mod">
          <ac:chgData name="Tường SKHĐT" userId="ab9568c39a88b08a" providerId="LiveId" clId="{A0A1AF5B-C8A6-4505-B2BC-7B9D5E4B6587}" dt="2023-06-12T05:09:57.630" v="2317" actId="1035"/>
          <ac:picMkLst>
            <pc:docMk/>
            <pc:sldMk cId="1167827339" sldId="312"/>
            <ac:picMk id="61" creationId="{533AE197-97BB-BD44-681E-27907409136A}"/>
          </ac:picMkLst>
        </pc:picChg>
      </pc:sldChg>
      <pc:sldChg chg="addSp delSp modSp mod">
        <pc:chgData name="Tường SKHĐT" userId="ab9568c39a88b08a" providerId="LiveId" clId="{A0A1AF5B-C8A6-4505-B2BC-7B9D5E4B6587}" dt="2023-06-12T05:13:31.080" v="2633" actId="20577"/>
        <pc:sldMkLst>
          <pc:docMk/>
          <pc:sldMk cId="2016091477" sldId="608"/>
        </pc:sldMkLst>
        <pc:spChg chg="add mod">
          <ac:chgData name="Tường SKHĐT" userId="ab9568c39a88b08a" providerId="LiveId" clId="{A0A1AF5B-C8A6-4505-B2BC-7B9D5E4B6587}" dt="2023-06-12T05:13:31.080" v="2633" actId="20577"/>
          <ac:spMkLst>
            <pc:docMk/>
            <pc:sldMk cId="2016091477" sldId="608"/>
            <ac:spMk id="2" creationId="{B1B170EA-ACEE-98CB-EB09-143E5BB6A3C8}"/>
          </ac:spMkLst>
        </pc:spChg>
        <pc:spChg chg="del">
          <ac:chgData name="Tường SKHĐT" userId="ab9568c39a88b08a" providerId="LiveId" clId="{A0A1AF5B-C8A6-4505-B2BC-7B9D5E4B6587}" dt="2023-06-12T05:12:43.849" v="2533" actId="21"/>
          <ac:spMkLst>
            <pc:docMk/>
            <pc:sldMk cId="2016091477" sldId="608"/>
            <ac:spMk id="3" creationId="{2BF4C964-5B51-155D-1FCC-AF55E074D424}"/>
          </ac:spMkLst>
        </pc:spChg>
        <pc:cxnChg chg="del">
          <ac:chgData name="Tường SKHĐT" userId="ab9568c39a88b08a" providerId="LiveId" clId="{A0A1AF5B-C8A6-4505-B2BC-7B9D5E4B6587}" dt="2023-06-12T05:12:45.251" v="2534" actId="21"/>
          <ac:cxnSpMkLst>
            <pc:docMk/>
            <pc:sldMk cId="2016091477" sldId="608"/>
            <ac:cxnSpMk id="4" creationId="{E9FC4CD0-864C-B653-BFF6-442A276263F2}"/>
          </ac:cxnSpMkLst>
        </pc:cxnChg>
      </pc:sldChg>
      <pc:sldChg chg="addSp delSp modSp mod">
        <pc:chgData name="Tường SKHĐT" userId="ab9568c39a88b08a" providerId="LiveId" clId="{A0A1AF5B-C8A6-4505-B2BC-7B9D5E4B6587}" dt="2023-06-12T05:16:42.887" v="2734" actId="20577"/>
        <pc:sldMkLst>
          <pc:docMk/>
          <pc:sldMk cId="98016993" sldId="2147473493"/>
        </pc:sldMkLst>
        <pc:spChg chg="del mod">
          <ac:chgData name="Tường SKHĐT" userId="ab9568c39a88b08a" providerId="LiveId" clId="{A0A1AF5B-C8A6-4505-B2BC-7B9D5E4B6587}" dt="2023-06-12T04:04:59.822" v="188" actId="21"/>
          <ac:spMkLst>
            <pc:docMk/>
            <pc:sldMk cId="98016993" sldId="2147473493"/>
            <ac:spMk id="2" creationId="{249DB492-0ACE-EC4B-78A2-7FFF6DFB60DB}"/>
          </ac:spMkLst>
        </pc:spChg>
        <pc:spChg chg="add mod">
          <ac:chgData name="Tường SKHĐT" userId="ab9568c39a88b08a" providerId="LiveId" clId="{A0A1AF5B-C8A6-4505-B2BC-7B9D5E4B6587}" dt="2023-06-12T04:04:53.665" v="187" actId="14100"/>
          <ac:spMkLst>
            <pc:docMk/>
            <pc:sldMk cId="98016993" sldId="2147473493"/>
            <ac:spMk id="3" creationId="{FC30F92D-3C47-CF58-6C37-0DBB6FF2F2DF}"/>
          </ac:spMkLst>
        </pc:spChg>
        <pc:spChg chg="mod">
          <ac:chgData name="Tường SKHĐT" userId="ab9568c39a88b08a" providerId="LiveId" clId="{A0A1AF5B-C8A6-4505-B2BC-7B9D5E4B6587}" dt="2023-06-12T05:16:42.887" v="2734" actId="20577"/>
          <ac:spMkLst>
            <pc:docMk/>
            <pc:sldMk cId="98016993" sldId="2147473493"/>
            <ac:spMk id="8" creationId="{50A9C000-165F-E95A-7887-87E444772F67}"/>
          </ac:spMkLst>
        </pc:spChg>
      </pc:sldChg>
      <pc:sldChg chg="addSp delSp modSp mod">
        <pc:chgData name="Tường SKHĐT" userId="ab9568c39a88b08a" providerId="LiveId" clId="{A0A1AF5B-C8A6-4505-B2BC-7B9D5E4B6587}" dt="2023-06-12T05:42:54.740" v="3720" actId="20577"/>
        <pc:sldMkLst>
          <pc:docMk/>
          <pc:sldMk cId="1786243308" sldId="2147473545"/>
        </pc:sldMkLst>
        <pc:spChg chg="add mod">
          <ac:chgData name="Tường SKHĐT" userId="ab9568c39a88b08a" providerId="LiveId" clId="{A0A1AF5B-C8A6-4505-B2BC-7B9D5E4B6587}" dt="2023-06-12T05:33:56.187" v="2897" actId="1076"/>
          <ac:spMkLst>
            <pc:docMk/>
            <pc:sldMk cId="1786243308" sldId="2147473545"/>
            <ac:spMk id="2" creationId="{E3F2BF9A-C482-E244-621B-6DF71CDC208B}"/>
          </ac:spMkLst>
        </pc:spChg>
        <pc:graphicFrameChg chg="mod modGraphic">
          <ac:chgData name="Tường SKHĐT" userId="ab9568c39a88b08a" providerId="LiveId" clId="{A0A1AF5B-C8A6-4505-B2BC-7B9D5E4B6587}" dt="2023-06-12T05:42:54.740" v="3720" actId="20577"/>
          <ac:graphicFrameMkLst>
            <pc:docMk/>
            <pc:sldMk cId="1786243308" sldId="2147473545"/>
            <ac:graphicFrameMk id="8" creationId="{B5E5335D-2EED-82AF-3A59-FAE8BB94EAE1}"/>
          </ac:graphicFrameMkLst>
        </pc:graphicFrameChg>
        <pc:picChg chg="del">
          <ac:chgData name="Tường SKHĐT" userId="ab9568c39a88b08a" providerId="LiveId" clId="{A0A1AF5B-C8A6-4505-B2BC-7B9D5E4B6587}" dt="2023-06-12T05:24:50.960" v="2767" actId="21"/>
          <ac:picMkLst>
            <pc:docMk/>
            <pc:sldMk cId="1786243308" sldId="2147473545"/>
            <ac:picMk id="7" creationId="{A8DCE28E-B471-3D60-44FB-21898F409962}"/>
          </ac:picMkLst>
        </pc:picChg>
        <pc:picChg chg="del">
          <ac:chgData name="Tường SKHĐT" userId="ab9568c39a88b08a" providerId="LiveId" clId="{A0A1AF5B-C8A6-4505-B2BC-7B9D5E4B6587}" dt="2023-06-12T05:24:52.696" v="2768" actId="21"/>
          <ac:picMkLst>
            <pc:docMk/>
            <pc:sldMk cId="1786243308" sldId="2147473545"/>
            <ac:picMk id="9" creationId="{2D7C230D-DB86-166B-1256-76D32398BC9D}"/>
          </ac:picMkLst>
        </pc:picChg>
      </pc:sldChg>
      <pc:sldChg chg="del">
        <pc:chgData name="Tường SKHĐT" userId="ab9568c39a88b08a" providerId="LiveId" clId="{A0A1AF5B-C8A6-4505-B2BC-7B9D5E4B6587}" dt="2023-06-12T04:57:52.939" v="1912" actId="2696"/>
        <pc:sldMkLst>
          <pc:docMk/>
          <pc:sldMk cId="1783682046" sldId="2147473574"/>
        </pc:sldMkLst>
      </pc:sldChg>
      <pc:sldChg chg="delSp modSp mod">
        <pc:chgData name="Tường SKHĐT" userId="ab9568c39a88b08a" providerId="LiveId" clId="{A0A1AF5B-C8A6-4505-B2BC-7B9D5E4B6587}" dt="2023-06-12T05:42:35.694" v="3714" actId="14100"/>
        <pc:sldMkLst>
          <pc:docMk/>
          <pc:sldMk cId="1163171153" sldId="2147473582"/>
        </pc:sldMkLst>
        <pc:spChg chg="mod">
          <ac:chgData name="Tường SKHĐT" userId="ab9568c39a88b08a" providerId="LiveId" clId="{A0A1AF5B-C8A6-4505-B2BC-7B9D5E4B6587}" dt="2023-06-12T05:42:35.694" v="3714" actId="14100"/>
          <ac:spMkLst>
            <pc:docMk/>
            <pc:sldMk cId="1163171153" sldId="2147473582"/>
            <ac:spMk id="2" creationId="{A49FA47D-1679-133E-0301-5CFB76FC4F8D}"/>
          </ac:spMkLst>
        </pc:spChg>
        <pc:picChg chg="del">
          <ac:chgData name="Tường SKHĐT" userId="ab9568c39a88b08a" providerId="LiveId" clId="{A0A1AF5B-C8A6-4505-B2BC-7B9D5E4B6587}" dt="2023-06-12T05:42:32.618" v="3713" actId="21"/>
          <ac:picMkLst>
            <pc:docMk/>
            <pc:sldMk cId="1163171153" sldId="2147473582"/>
            <ac:picMk id="3" creationId="{8ECDE32C-3CEA-B622-DD60-CA5D943EEBEB}"/>
          </ac:picMkLst>
        </pc:picChg>
        <pc:picChg chg="del">
          <ac:chgData name="Tường SKHĐT" userId="ab9568c39a88b08a" providerId="LiveId" clId="{A0A1AF5B-C8A6-4505-B2BC-7B9D5E4B6587}" dt="2023-06-12T05:42:30.955" v="3712" actId="21"/>
          <ac:picMkLst>
            <pc:docMk/>
            <pc:sldMk cId="1163171153" sldId="2147473582"/>
            <ac:picMk id="5" creationId="{36D40177-B5F5-4CD7-89E9-D49ADE361564}"/>
          </ac:picMkLst>
        </pc:picChg>
      </pc:sldChg>
      <pc:sldChg chg="modSp mod">
        <pc:chgData name="Tường SKHĐT" userId="ab9568c39a88b08a" providerId="LiveId" clId="{A0A1AF5B-C8A6-4505-B2BC-7B9D5E4B6587}" dt="2023-06-12T05:45:36.414" v="3862" actId="207"/>
        <pc:sldMkLst>
          <pc:docMk/>
          <pc:sldMk cId="740355695" sldId="2147473583"/>
        </pc:sldMkLst>
        <pc:spChg chg="mod">
          <ac:chgData name="Tường SKHĐT" userId="ab9568c39a88b08a" providerId="LiveId" clId="{A0A1AF5B-C8A6-4505-B2BC-7B9D5E4B6587}" dt="2023-06-12T05:45:36.414" v="3862" actId="207"/>
          <ac:spMkLst>
            <pc:docMk/>
            <pc:sldMk cId="740355695" sldId="2147473583"/>
            <ac:spMk id="3" creationId="{F4077AF3-E87B-6ED3-C32E-F690520025FC}"/>
          </ac:spMkLst>
        </pc:spChg>
      </pc:sldChg>
      <pc:sldChg chg="addSp delSp modSp mod">
        <pc:chgData name="Tường SKHĐT" userId="ab9568c39a88b08a" providerId="LiveId" clId="{A0A1AF5B-C8A6-4505-B2BC-7B9D5E4B6587}" dt="2023-06-12T05:13:16.495" v="2548" actId="1076"/>
        <pc:sldMkLst>
          <pc:docMk/>
          <pc:sldMk cId="1387142198" sldId="2147473622"/>
        </pc:sldMkLst>
        <pc:spChg chg="add mod">
          <ac:chgData name="Tường SKHĐT" userId="ab9568c39a88b08a" providerId="LiveId" clId="{A0A1AF5B-C8A6-4505-B2BC-7B9D5E4B6587}" dt="2023-06-12T05:13:16.495" v="2548" actId="1076"/>
          <ac:spMkLst>
            <pc:docMk/>
            <pc:sldMk cId="1387142198" sldId="2147473622"/>
            <ac:spMk id="2" creationId="{06EEEA68-C4BB-4F90-2662-CE895507C43B}"/>
          </ac:spMkLst>
        </pc:spChg>
        <pc:spChg chg="del">
          <ac:chgData name="Tường SKHĐT" userId="ab9568c39a88b08a" providerId="LiveId" clId="{A0A1AF5B-C8A6-4505-B2BC-7B9D5E4B6587}" dt="2023-06-12T05:13:03.992" v="2543" actId="21"/>
          <ac:spMkLst>
            <pc:docMk/>
            <pc:sldMk cId="1387142198" sldId="2147473622"/>
            <ac:spMk id="3" creationId="{2BF4C964-5B51-155D-1FCC-AF55E074D424}"/>
          </ac:spMkLst>
        </pc:spChg>
        <pc:cxnChg chg="del">
          <ac:chgData name="Tường SKHĐT" userId="ab9568c39a88b08a" providerId="LiveId" clId="{A0A1AF5B-C8A6-4505-B2BC-7B9D5E4B6587}" dt="2023-06-12T05:13:05.395" v="2544" actId="21"/>
          <ac:cxnSpMkLst>
            <pc:docMk/>
            <pc:sldMk cId="1387142198" sldId="2147473622"/>
            <ac:cxnSpMk id="4" creationId="{E9FC4CD0-864C-B653-BFF6-442A276263F2}"/>
          </ac:cxnSpMkLst>
        </pc:cxnChg>
      </pc:sldChg>
      <pc:sldChg chg="addSp delSp modSp mod">
        <pc:chgData name="Tường SKHĐT" userId="ab9568c39a88b08a" providerId="LiveId" clId="{A0A1AF5B-C8A6-4505-B2BC-7B9D5E4B6587}" dt="2023-06-12T05:10:28.771" v="2346" actId="20577"/>
        <pc:sldMkLst>
          <pc:docMk/>
          <pc:sldMk cId="1174761856" sldId="2147473632"/>
        </pc:sldMkLst>
        <pc:spChg chg="add mod">
          <ac:chgData name="Tường SKHĐT" userId="ab9568c39a88b08a" providerId="LiveId" clId="{A0A1AF5B-C8A6-4505-B2BC-7B9D5E4B6587}" dt="2023-06-12T05:10:28.771" v="2346" actId="20577"/>
          <ac:spMkLst>
            <pc:docMk/>
            <pc:sldMk cId="1174761856" sldId="2147473632"/>
            <ac:spMk id="2" creationId="{90639DAD-0C28-1F96-C20C-9A6FD13DE97A}"/>
          </ac:spMkLst>
        </pc:spChg>
        <pc:spChg chg="mod">
          <ac:chgData name="Tường SKHĐT" userId="ab9568c39a88b08a" providerId="LiveId" clId="{A0A1AF5B-C8A6-4505-B2BC-7B9D5E4B6587}" dt="2023-06-12T05:07:09.100" v="2064" actId="1076"/>
          <ac:spMkLst>
            <pc:docMk/>
            <pc:sldMk cId="1174761856" sldId="2147473632"/>
            <ac:spMk id="4" creationId="{11B4B638-D8C9-63CB-0C4C-AF8CBBC88A8B}"/>
          </ac:spMkLst>
        </pc:spChg>
        <pc:spChg chg="del">
          <ac:chgData name="Tường SKHĐT" userId="ab9568c39a88b08a" providerId="LiveId" clId="{A0A1AF5B-C8A6-4505-B2BC-7B9D5E4B6587}" dt="2023-06-12T05:06:41.367" v="2055" actId="21"/>
          <ac:spMkLst>
            <pc:docMk/>
            <pc:sldMk cId="1174761856" sldId="2147473632"/>
            <ac:spMk id="25" creationId="{01DC26C3-E6F4-C27A-8624-3A65D81B6008}"/>
          </ac:spMkLst>
        </pc:spChg>
        <pc:graphicFrameChg chg="mod">
          <ac:chgData name="Tường SKHĐT" userId="ab9568c39a88b08a" providerId="LiveId" clId="{A0A1AF5B-C8A6-4505-B2BC-7B9D5E4B6587}" dt="2023-06-12T05:07:00.986" v="2062" actId="1076"/>
          <ac:graphicFrameMkLst>
            <pc:docMk/>
            <pc:sldMk cId="1174761856" sldId="2147473632"/>
            <ac:graphicFrameMk id="6" creationId="{44FB4D7C-01CC-0736-5D6D-65D7293CE01F}"/>
          </ac:graphicFrameMkLst>
        </pc:graphicFrameChg>
        <pc:graphicFrameChg chg="mod">
          <ac:chgData name="Tường SKHĐT" userId="ab9568c39a88b08a" providerId="LiveId" clId="{A0A1AF5B-C8A6-4505-B2BC-7B9D5E4B6587}" dt="2023-06-12T05:07:04.948" v="2063" actId="1076"/>
          <ac:graphicFrameMkLst>
            <pc:docMk/>
            <pc:sldMk cId="1174761856" sldId="2147473632"/>
            <ac:graphicFrameMk id="7" creationId="{CEED3EA2-0750-10C2-1A30-ACB23F10ADA9}"/>
          </ac:graphicFrameMkLst>
        </pc:graphicFrameChg>
      </pc:sldChg>
      <pc:sldChg chg="modSp">
        <pc:chgData name="Tường SKHĐT" userId="ab9568c39a88b08a" providerId="LiveId" clId="{A0A1AF5B-C8A6-4505-B2BC-7B9D5E4B6587}" dt="2023-06-12T05:44:06.199" v="3737" actId="20577"/>
        <pc:sldMkLst>
          <pc:docMk/>
          <pc:sldMk cId="3956457276" sldId="2147473683"/>
        </pc:sldMkLst>
        <pc:spChg chg="mod">
          <ac:chgData name="Tường SKHĐT" userId="ab9568c39a88b08a" providerId="LiveId" clId="{A0A1AF5B-C8A6-4505-B2BC-7B9D5E4B6587}" dt="2023-06-12T05:44:06.199" v="3737" actId="20577"/>
          <ac:spMkLst>
            <pc:docMk/>
            <pc:sldMk cId="3956457276" sldId="2147473683"/>
            <ac:spMk id="2" creationId="{A49FA47D-1679-133E-0301-5CFB76FC4F8D}"/>
          </ac:spMkLst>
        </pc:spChg>
      </pc:sldChg>
      <pc:sldChg chg="del">
        <pc:chgData name="Tường SKHĐT" userId="ab9568c39a88b08a" providerId="LiveId" clId="{A0A1AF5B-C8A6-4505-B2BC-7B9D5E4B6587}" dt="2023-06-12T05:03:35.184" v="1961" actId="2696"/>
        <pc:sldMkLst>
          <pc:docMk/>
          <pc:sldMk cId="3869321635" sldId="2147473691"/>
        </pc:sldMkLst>
      </pc:sldChg>
      <pc:sldChg chg="addSp delSp modSp mod">
        <pc:chgData name="Tường SKHĐT" userId="ab9568c39a88b08a" providerId="LiveId" clId="{A0A1AF5B-C8A6-4505-B2BC-7B9D5E4B6587}" dt="2023-06-12T05:10:32.383" v="2349" actId="20577"/>
        <pc:sldMkLst>
          <pc:docMk/>
          <pc:sldMk cId="3384527337" sldId="2147473719"/>
        </pc:sldMkLst>
        <pc:spChg chg="add mod">
          <ac:chgData name="Tường SKHĐT" userId="ab9568c39a88b08a" providerId="LiveId" clId="{A0A1AF5B-C8A6-4505-B2BC-7B9D5E4B6587}" dt="2023-06-12T05:10:32.383" v="2349" actId="20577"/>
          <ac:spMkLst>
            <pc:docMk/>
            <pc:sldMk cId="3384527337" sldId="2147473719"/>
            <ac:spMk id="2" creationId="{9F14B9B3-5115-5AE0-DD3D-5994DDB88039}"/>
          </ac:spMkLst>
        </pc:spChg>
        <pc:spChg chg="del mod">
          <ac:chgData name="Tường SKHĐT" userId="ab9568c39a88b08a" providerId="LiveId" clId="{A0A1AF5B-C8A6-4505-B2BC-7B9D5E4B6587}" dt="2023-06-12T05:07:41.866" v="2073" actId="21"/>
          <ac:spMkLst>
            <pc:docMk/>
            <pc:sldMk cId="3384527337" sldId="2147473719"/>
            <ac:spMk id="25" creationId="{01DC26C3-E6F4-C27A-8624-3A65D81B6008}"/>
          </ac:spMkLst>
        </pc:spChg>
      </pc:sldChg>
      <pc:sldChg chg="modSp mod">
        <pc:chgData name="Tường SKHĐT" userId="ab9568c39a88b08a" providerId="LiveId" clId="{A0A1AF5B-C8A6-4505-B2BC-7B9D5E4B6587}" dt="2023-06-12T05:41:38.989" v="3706" actId="207"/>
        <pc:sldMkLst>
          <pc:docMk/>
          <pc:sldMk cId="912302037" sldId="2147473721"/>
        </pc:sldMkLst>
        <pc:spChg chg="mod">
          <ac:chgData name="Tường SKHĐT" userId="ab9568c39a88b08a" providerId="LiveId" clId="{A0A1AF5B-C8A6-4505-B2BC-7B9D5E4B6587}" dt="2023-06-12T05:41:38.989" v="3706" actId="207"/>
          <ac:spMkLst>
            <pc:docMk/>
            <pc:sldMk cId="912302037" sldId="2147473721"/>
            <ac:spMk id="2" creationId="{D73C606B-AAEF-247E-530A-5EAC9C46FF0B}"/>
          </ac:spMkLst>
        </pc:spChg>
      </pc:sldChg>
      <pc:sldChg chg="modSp mod">
        <pc:chgData name="Tường SKHĐT" userId="ab9568c39a88b08a" providerId="LiveId" clId="{A0A1AF5B-C8A6-4505-B2BC-7B9D5E4B6587}" dt="2023-06-12T04:53:22.738" v="1823" actId="1076"/>
        <pc:sldMkLst>
          <pc:docMk/>
          <pc:sldMk cId="964652449" sldId="2147473728"/>
        </pc:sldMkLst>
        <pc:spChg chg="mod">
          <ac:chgData name="Tường SKHĐT" userId="ab9568c39a88b08a" providerId="LiveId" clId="{A0A1AF5B-C8A6-4505-B2BC-7B9D5E4B6587}" dt="2023-06-12T04:53:22.738" v="1823" actId="1076"/>
          <ac:spMkLst>
            <pc:docMk/>
            <pc:sldMk cId="964652449" sldId="2147473728"/>
            <ac:spMk id="11" creationId="{01DC26C3-E6F4-C27A-8624-3A65D81B6008}"/>
          </ac:spMkLst>
        </pc:spChg>
      </pc:sldChg>
      <pc:sldChg chg="del">
        <pc:chgData name="Tường SKHĐT" userId="ab9568c39a88b08a" providerId="LiveId" clId="{A0A1AF5B-C8A6-4505-B2BC-7B9D5E4B6587}" dt="2023-06-12T05:03:24.459" v="1960" actId="2696"/>
        <pc:sldMkLst>
          <pc:docMk/>
          <pc:sldMk cId="2964888231" sldId="2147473732"/>
        </pc:sldMkLst>
      </pc:sldChg>
      <pc:sldChg chg="addSp modSp mod">
        <pc:chgData name="Tường SKHĐT" userId="ab9568c39a88b08a" providerId="LiveId" clId="{A0A1AF5B-C8A6-4505-B2BC-7B9D5E4B6587}" dt="2023-06-12T05:10:19.642" v="2340" actId="1076"/>
        <pc:sldMkLst>
          <pc:docMk/>
          <pc:sldMk cId="2569991023" sldId="2147473733"/>
        </pc:sldMkLst>
        <pc:spChg chg="add mod">
          <ac:chgData name="Tường SKHĐT" userId="ab9568c39a88b08a" providerId="LiveId" clId="{A0A1AF5B-C8A6-4505-B2BC-7B9D5E4B6587}" dt="2023-06-12T05:10:17.946" v="2339" actId="1076"/>
          <ac:spMkLst>
            <pc:docMk/>
            <pc:sldMk cId="2569991023" sldId="2147473733"/>
            <ac:spMk id="2" creationId="{F8EF66F9-1D66-D782-0E4F-5E38DD126185}"/>
          </ac:spMkLst>
        </pc:spChg>
        <pc:graphicFrameChg chg="mod">
          <ac:chgData name="Tường SKHĐT" userId="ab9568c39a88b08a" providerId="LiveId" clId="{A0A1AF5B-C8A6-4505-B2BC-7B9D5E4B6587}" dt="2023-06-12T05:10:19.642" v="2340" actId="1076"/>
          <ac:graphicFrameMkLst>
            <pc:docMk/>
            <pc:sldMk cId="2569991023" sldId="2147473733"/>
            <ac:graphicFrameMk id="8" creationId="{B5E5335D-2EED-82AF-3A59-FAE8BB94EAE1}"/>
          </ac:graphicFrameMkLst>
        </pc:graphicFrameChg>
      </pc:sldChg>
      <pc:sldChg chg="modSp mod">
        <pc:chgData name="Tường SKHĐT" userId="ab9568c39a88b08a" providerId="LiveId" clId="{A0A1AF5B-C8A6-4505-B2BC-7B9D5E4B6587}" dt="2023-06-12T04:53:31.470" v="1825" actId="1076"/>
        <pc:sldMkLst>
          <pc:docMk/>
          <pc:sldMk cId="1775073472" sldId="2147473736"/>
        </pc:sldMkLst>
        <pc:spChg chg="mod">
          <ac:chgData name="Tường SKHĐT" userId="ab9568c39a88b08a" providerId="LiveId" clId="{A0A1AF5B-C8A6-4505-B2BC-7B9D5E4B6587}" dt="2023-06-12T04:53:29.218" v="1824" actId="1076"/>
          <ac:spMkLst>
            <pc:docMk/>
            <pc:sldMk cId="1775073472" sldId="2147473736"/>
            <ac:spMk id="9" creationId="{18AC359A-8ADF-9DAA-4CA1-F82A916F1E2E}"/>
          </ac:spMkLst>
        </pc:spChg>
        <pc:graphicFrameChg chg="mod">
          <ac:chgData name="Tường SKHĐT" userId="ab9568c39a88b08a" providerId="LiveId" clId="{A0A1AF5B-C8A6-4505-B2BC-7B9D5E4B6587}" dt="2023-06-12T04:53:31.470" v="1825" actId="1076"/>
          <ac:graphicFrameMkLst>
            <pc:docMk/>
            <pc:sldMk cId="1775073472" sldId="2147473736"/>
            <ac:graphicFrameMk id="6" creationId="{47027231-95EF-C8CE-4215-B126B807487B}"/>
          </ac:graphicFrameMkLst>
        </pc:graphicFrameChg>
      </pc:sldChg>
      <pc:sldChg chg="addSp delSp modSp mod">
        <pc:chgData name="Tường SKHĐT" userId="ab9568c39a88b08a" providerId="LiveId" clId="{A0A1AF5B-C8A6-4505-B2BC-7B9D5E4B6587}" dt="2023-06-12T05:27:14.023" v="2847" actId="20577"/>
        <pc:sldMkLst>
          <pc:docMk/>
          <pc:sldMk cId="3839081106" sldId="2147473738"/>
        </pc:sldMkLst>
        <pc:spChg chg="add mod">
          <ac:chgData name="Tường SKHĐT" userId="ab9568c39a88b08a" providerId="LiveId" clId="{A0A1AF5B-C8A6-4505-B2BC-7B9D5E4B6587}" dt="2023-06-12T05:11:39.166" v="2388" actId="1076"/>
          <ac:spMkLst>
            <pc:docMk/>
            <pc:sldMk cId="3839081106" sldId="2147473738"/>
            <ac:spMk id="2" creationId="{A2518717-EF87-0090-E7D4-4415084501BD}"/>
          </ac:spMkLst>
        </pc:spChg>
        <pc:spChg chg="add del mod">
          <ac:chgData name="Tường SKHĐT" userId="ab9568c39a88b08a" providerId="LiveId" clId="{A0A1AF5B-C8A6-4505-B2BC-7B9D5E4B6587}" dt="2023-06-12T05:11:35.218" v="2387" actId="21"/>
          <ac:spMkLst>
            <pc:docMk/>
            <pc:sldMk cId="3839081106" sldId="2147473738"/>
            <ac:spMk id="4" creationId="{97FE0673-B9D7-0A4D-F497-CF90A43280FA}"/>
          </ac:spMkLst>
        </pc:spChg>
        <pc:spChg chg="del">
          <ac:chgData name="Tường SKHĐT" userId="ab9568c39a88b08a" providerId="LiveId" clId="{A0A1AF5B-C8A6-4505-B2BC-7B9D5E4B6587}" dt="2023-06-12T05:11:32.612" v="2386" actId="21"/>
          <ac:spMkLst>
            <pc:docMk/>
            <pc:sldMk cId="3839081106" sldId="2147473738"/>
            <ac:spMk id="5" creationId="{D719EECE-B4EB-2250-6716-BE9AEEDC7A27}"/>
          </ac:spMkLst>
        </pc:spChg>
        <pc:spChg chg="mod">
          <ac:chgData name="Tường SKHĐT" userId="ab9568c39a88b08a" providerId="LiveId" clId="{A0A1AF5B-C8A6-4505-B2BC-7B9D5E4B6587}" dt="2023-06-12T05:26:44.842" v="2816" actId="20577"/>
          <ac:spMkLst>
            <pc:docMk/>
            <pc:sldMk cId="3839081106" sldId="2147473738"/>
            <ac:spMk id="20" creationId="{394D8737-1CA3-C18F-155A-3F82403D4E3B}"/>
          </ac:spMkLst>
        </pc:spChg>
        <pc:spChg chg="mod">
          <ac:chgData name="Tường SKHĐT" userId="ab9568c39a88b08a" providerId="LiveId" clId="{A0A1AF5B-C8A6-4505-B2BC-7B9D5E4B6587}" dt="2023-06-12T05:26:52.606" v="2830" actId="20577"/>
          <ac:spMkLst>
            <pc:docMk/>
            <pc:sldMk cId="3839081106" sldId="2147473738"/>
            <ac:spMk id="27" creationId="{8D0CB480-EC39-4DC1-0353-768C8526261D}"/>
          </ac:spMkLst>
        </pc:spChg>
        <pc:spChg chg="mod">
          <ac:chgData name="Tường SKHĐT" userId="ab9568c39a88b08a" providerId="LiveId" clId="{A0A1AF5B-C8A6-4505-B2BC-7B9D5E4B6587}" dt="2023-06-12T05:26:46.895" v="2818" actId="20577"/>
          <ac:spMkLst>
            <pc:docMk/>
            <pc:sldMk cId="3839081106" sldId="2147473738"/>
            <ac:spMk id="28" creationId="{0F9FC2CC-E142-6E69-C8D8-33B29DA66359}"/>
          </ac:spMkLst>
        </pc:spChg>
        <pc:spChg chg="mod">
          <ac:chgData name="Tường SKHĐT" userId="ab9568c39a88b08a" providerId="LiveId" clId="{A0A1AF5B-C8A6-4505-B2BC-7B9D5E4B6587}" dt="2023-06-12T05:26:56.586" v="2835" actId="20577"/>
          <ac:spMkLst>
            <pc:docMk/>
            <pc:sldMk cId="3839081106" sldId="2147473738"/>
            <ac:spMk id="29" creationId="{8DD5A653-6B03-584A-539A-C531FCC0C782}"/>
          </ac:spMkLst>
        </pc:spChg>
        <pc:spChg chg="mod">
          <ac:chgData name="Tường SKHĐT" userId="ab9568c39a88b08a" providerId="LiveId" clId="{A0A1AF5B-C8A6-4505-B2BC-7B9D5E4B6587}" dt="2023-06-12T05:27:10.890" v="2841" actId="20577"/>
          <ac:spMkLst>
            <pc:docMk/>
            <pc:sldMk cId="3839081106" sldId="2147473738"/>
            <ac:spMk id="37" creationId="{A633A4AB-4B54-9DFF-1D3F-EE9B0A4D52DA}"/>
          </ac:spMkLst>
        </pc:spChg>
        <pc:spChg chg="mod">
          <ac:chgData name="Tường SKHĐT" userId="ab9568c39a88b08a" providerId="LiveId" clId="{A0A1AF5B-C8A6-4505-B2BC-7B9D5E4B6587}" dt="2023-06-12T05:27:02.742" v="2839" actId="20577"/>
          <ac:spMkLst>
            <pc:docMk/>
            <pc:sldMk cId="3839081106" sldId="2147473738"/>
            <ac:spMk id="47" creationId="{615E2FF8-44B4-E5D2-386A-D270D5A07DA1}"/>
          </ac:spMkLst>
        </pc:spChg>
        <pc:spChg chg="mod">
          <ac:chgData name="Tường SKHĐT" userId="ab9568c39a88b08a" providerId="LiveId" clId="{A0A1AF5B-C8A6-4505-B2BC-7B9D5E4B6587}" dt="2023-06-12T05:27:14.023" v="2847" actId="20577"/>
          <ac:spMkLst>
            <pc:docMk/>
            <pc:sldMk cId="3839081106" sldId="2147473738"/>
            <ac:spMk id="53" creationId="{940E7436-8D16-138B-2BFE-178612083DAB}"/>
          </ac:spMkLst>
        </pc:spChg>
      </pc:sldChg>
      <pc:sldChg chg="del">
        <pc:chgData name="Tường SKHĐT" userId="ab9568c39a88b08a" providerId="LiveId" clId="{A0A1AF5B-C8A6-4505-B2BC-7B9D5E4B6587}" dt="2023-06-12T04:57:50.359" v="1911" actId="2696"/>
        <pc:sldMkLst>
          <pc:docMk/>
          <pc:sldMk cId="2648267713" sldId="2147473739"/>
        </pc:sldMkLst>
      </pc:sldChg>
      <pc:sldChg chg="addSp delSp modSp del mod">
        <pc:chgData name="Tường SKHĐT" userId="ab9568c39a88b08a" providerId="LiveId" clId="{A0A1AF5B-C8A6-4505-B2BC-7B9D5E4B6587}" dt="2023-06-12T04:09:34.596" v="475" actId="2696"/>
        <pc:sldMkLst>
          <pc:docMk/>
          <pc:sldMk cId="2196586738" sldId="2147473745"/>
        </pc:sldMkLst>
        <pc:spChg chg="add mod">
          <ac:chgData name="Tường SKHĐT" userId="ab9568c39a88b08a" providerId="LiveId" clId="{A0A1AF5B-C8A6-4505-B2BC-7B9D5E4B6587}" dt="2023-06-12T04:06:38.793" v="287" actId="20577"/>
          <ac:spMkLst>
            <pc:docMk/>
            <pc:sldMk cId="2196586738" sldId="2147473745"/>
            <ac:spMk id="3" creationId="{41F7B89A-950B-BCEA-7B34-24C31F06EEAE}"/>
          </ac:spMkLst>
        </pc:spChg>
        <pc:spChg chg="add mod">
          <ac:chgData name="Tường SKHĐT" userId="ab9568c39a88b08a" providerId="LiveId" clId="{A0A1AF5B-C8A6-4505-B2BC-7B9D5E4B6587}" dt="2023-06-12T04:08:06.134" v="468" actId="1076"/>
          <ac:spMkLst>
            <pc:docMk/>
            <pc:sldMk cId="2196586738" sldId="2147473745"/>
            <ac:spMk id="4" creationId="{F2F47907-BFA6-9C9C-7410-0773243570E0}"/>
          </ac:spMkLst>
        </pc:spChg>
        <pc:spChg chg="add mod">
          <ac:chgData name="Tường SKHĐT" userId="ab9568c39a88b08a" providerId="LiveId" clId="{A0A1AF5B-C8A6-4505-B2BC-7B9D5E4B6587}" dt="2023-06-12T04:07:57.891" v="465" actId="14100"/>
          <ac:spMkLst>
            <pc:docMk/>
            <pc:sldMk cId="2196586738" sldId="2147473745"/>
            <ac:spMk id="5" creationId="{85B0C6AB-4906-5932-12D4-5FAF7DC72C97}"/>
          </ac:spMkLst>
        </pc:spChg>
        <pc:spChg chg="del mod">
          <ac:chgData name="Tường SKHĐT" userId="ab9568c39a88b08a" providerId="LiveId" clId="{A0A1AF5B-C8A6-4505-B2BC-7B9D5E4B6587}" dt="2023-06-12T04:06:46.456" v="289" actId="21"/>
          <ac:spMkLst>
            <pc:docMk/>
            <pc:sldMk cId="2196586738" sldId="2147473745"/>
            <ac:spMk id="6" creationId="{249DB492-0ACE-EC4B-78A2-7FFF6DFB60DB}"/>
          </ac:spMkLst>
        </pc:spChg>
        <pc:spChg chg="del mod">
          <ac:chgData name="Tường SKHĐT" userId="ab9568c39a88b08a" providerId="LiveId" clId="{A0A1AF5B-C8A6-4505-B2BC-7B9D5E4B6587}" dt="2023-06-12T04:08:02.862" v="467" actId="21"/>
          <ac:spMkLst>
            <pc:docMk/>
            <pc:sldMk cId="2196586738" sldId="2147473745"/>
            <ac:spMk id="7" creationId="{249DB492-0ACE-EC4B-78A2-7FFF6DFB60DB}"/>
          </ac:spMkLst>
        </pc:spChg>
        <pc:spChg chg="del mod">
          <ac:chgData name="Tường SKHĐT" userId="ab9568c39a88b08a" providerId="LiveId" clId="{A0A1AF5B-C8A6-4505-B2BC-7B9D5E4B6587}" dt="2023-06-12T04:08:00.447" v="466" actId="21"/>
          <ac:spMkLst>
            <pc:docMk/>
            <pc:sldMk cId="2196586738" sldId="2147473745"/>
            <ac:spMk id="9" creationId="{D941B402-27FD-60A3-D08E-FE667B173AB3}"/>
          </ac:spMkLst>
        </pc:spChg>
      </pc:sldChg>
      <pc:sldChg chg="del">
        <pc:chgData name="Tường SKHĐT" userId="ab9568c39a88b08a" providerId="LiveId" clId="{A0A1AF5B-C8A6-4505-B2BC-7B9D5E4B6587}" dt="2023-06-12T04:10:52.955" v="491" actId="2696"/>
        <pc:sldMkLst>
          <pc:docMk/>
          <pc:sldMk cId="548865208" sldId="2147473747"/>
        </pc:sldMkLst>
      </pc:sldChg>
      <pc:sldChg chg="modSp">
        <pc:chgData name="Tường SKHĐT" userId="ab9568c39a88b08a" providerId="LiveId" clId="{A0A1AF5B-C8A6-4505-B2BC-7B9D5E4B6587}" dt="2023-06-12T04:53:54.846" v="1828" actId="14100"/>
        <pc:sldMkLst>
          <pc:docMk/>
          <pc:sldMk cId="3695198589" sldId="2147473750"/>
        </pc:sldMkLst>
        <pc:graphicFrameChg chg="mod">
          <ac:chgData name="Tường SKHĐT" userId="ab9568c39a88b08a" providerId="LiveId" clId="{A0A1AF5B-C8A6-4505-B2BC-7B9D5E4B6587}" dt="2023-06-12T04:53:54.846" v="1828" actId="14100"/>
          <ac:graphicFrameMkLst>
            <pc:docMk/>
            <pc:sldMk cId="3695198589" sldId="2147473750"/>
            <ac:graphicFrameMk id="3" creationId="{A5FB3A6E-B32E-C0AF-953C-6DA986BEDA07}"/>
          </ac:graphicFrameMkLst>
        </pc:graphicFrameChg>
      </pc:sldChg>
      <pc:sldChg chg="del">
        <pc:chgData name="Tường SKHĐT" userId="ab9568c39a88b08a" providerId="LiveId" clId="{A0A1AF5B-C8A6-4505-B2BC-7B9D5E4B6587}" dt="2023-06-12T05:01:01.504" v="1950" actId="2696"/>
        <pc:sldMkLst>
          <pc:docMk/>
          <pc:sldMk cId="1980939669" sldId="2147473751"/>
        </pc:sldMkLst>
      </pc:sldChg>
      <pc:sldChg chg="addSp delSp modSp mod">
        <pc:chgData name="Tường SKHĐT" userId="ab9568c39a88b08a" providerId="LiveId" clId="{A0A1AF5B-C8A6-4505-B2BC-7B9D5E4B6587}" dt="2023-06-12T05:13:10.954" v="2546" actId="20577"/>
        <pc:sldMkLst>
          <pc:docMk/>
          <pc:sldMk cId="639639902" sldId="2147473754"/>
        </pc:sldMkLst>
        <pc:spChg chg="add mod">
          <ac:chgData name="Tường SKHĐT" userId="ab9568c39a88b08a" providerId="LiveId" clId="{A0A1AF5B-C8A6-4505-B2BC-7B9D5E4B6587}" dt="2023-06-12T05:13:10.954" v="2546" actId="20577"/>
          <ac:spMkLst>
            <pc:docMk/>
            <pc:sldMk cId="639639902" sldId="2147473754"/>
            <ac:spMk id="2" creationId="{79CE9985-9E32-695F-3871-1037CABA4789}"/>
          </ac:spMkLst>
        </pc:spChg>
        <pc:spChg chg="del">
          <ac:chgData name="Tường SKHĐT" userId="ab9568c39a88b08a" providerId="LiveId" clId="{A0A1AF5B-C8A6-4505-B2BC-7B9D5E4B6587}" dt="2023-06-12T05:12:58.753" v="2541" actId="21"/>
          <ac:spMkLst>
            <pc:docMk/>
            <pc:sldMk cId="639639902" sldId="2147473754"/>
            <ac:spMk id="3" creationId="{2BF4C964-5B51-155D-1FCC-AF55E074D424}"/>
          </ac:spMkLst>
        </pc:spChg>
        <pc:cxnChg chg="del">
          <ac:chgData name="Tường SKHĐT" userId="ab9568c39a88b08a" providerId="LiveId" clId="{A0A1AF5B-C8A6-4505-B2BC-7B9D5E4B6587}" dt="2023-06-12T05:13:00.268" v="2542" actId="21"/>
          <ac:cxnSpMkLst>
            <pc:docMk/>
            <pc:sldMk cId="639639902" sldId="2147473754"/>
            <ac:cxnSpMk id="4" creationId="{E9FC4CD0-864C-B653-BFF6-442A276263F2}"/>
          </ac:cxnSpMkLst>
        </pc:cxnChg>
      </pc:sldChg>
      <pc:sldChg chg="modSp mod">
        <pc:chgData name="Tường SKHĐT" userId="ab9568c39a88b08a" providerId="LiveId" clId="{A0A1AF5B-C8A6-4505-B2BC-7B9D5E4B6587}" dt="2023-06-12T04:53:36.570" v="1826" actId="1076"/>
        <pc:sldMkLst>
          <pc:docMk/>
          <pc:sldMk cId="386469802" sldId="2147473758"/>
        </pc:sldMkLst>
        <pc:spChg chg="mod">
          <ac:chgData name="Tường SKHĐT" userId="ab9568c39a88b08a" providerId="LiveId" clId="{A0A1AF5B-C8A6-4505-B2BC-7B9D5E4B6587}" dt="2023-06-12T04:53:36.570" v="1826" actId="1076"/>
          <ac:spMkLst>
            <pc:docMk/>
            <pc:sldMk cId="386469802" sldId="2147473758"/>
            <ac:spMk id="9" creationId="{18AC359A-8ADF-9DAA-4CA1-F82A916F1E2E}"/>
          </ac:spMkLst>
        </pc:spChg>
      </pc:sldChg>
      <pc:sldChg chg="addSp delSp modSp add mod">
        <pc:chgData name="Tường SKHĐT" userId="ab9568c39a88b08a" providerId="LiveId" clId="{A0A1AF5B-C8A6-4505-B2BC-7B9D5E4B6587}" dt="2023-06-12T05:01:54.826" v="1956" actId="1076"/>
        <pc:sldMkLst>
          <pc:docMk/>
          <pc:sldMk cId="3587433405" sldId="2147473759"/>
        </pc:sldMkLst>
        <pc:spChg chg="mod">
          <ac:chgData name="Tường SKHĐT" userId="ab9568c39a88b08a" providerId="LiveId" clId="{A0A1AF5B-C8A6-4505-B2BC-7B9D5E4B6587}" dt="2023-06-12T04:55:00.321" v="1876" actId="20577"/>
          <ac:spMkLst>
            <pc:docMk/>
            <pc:sldMk cId="3587433405" sldId="2147473759"/>
            <ac:spMk id="2" creationId="{C9C54BA1-2A4A-3092-6E61-540C9E74E66E}"/>
          </ac:spMkLst>
        </pc:spChg>
        <pc:spChg chg="del mod">
          <ac:chgData name="Tường SKHĐT" userId="ab9568c39a88b08a" providerId="LiveId" clId="{A0A1AF5B-C8A6-4505-B2BC-7B9D5E4B6587}" dt="2023-06-12T04:59:45.651" v="1940" actId="21"/>
          <ac:spMkLst>
            <pc:docMk/>
            <pc:sldMk cId="3587433405" sldId="2147473759"/>
            <ac:spMk id="3" creationId="{2F35D704-E24D-64B1-0BF7-40F7CE667286}"/>
          </ac:spMkLst>
        </pc:spChg>
        <pc:spChg chg="add mod">
          <ac:chgData name="Tường SKHĐT" userId="ab9568c39a88b08a" providerId="LiveId" clId="{A0A1AF5B-C8A6-4505-B2BC-7B9D5E4B6587}" dt="2023-06-12T04:59:49.193" v="1941" actId="1076"/>
          <ac:spMkLst>
            <pc:docMk/>
            <pc:sldMk cId="3587433405" sldId="2147473759"/>
            <ac:spMk id="5" creationId="{4F17B82E-1B69-F4AD-F096-FABFD39A8027}"/>
          </ac:spMkLst>
        </pc:spChg>
        <pc:graphicFrameChg chg="del">
          <ac:chgData name="Tường SKHĐT" userId="ab9568c39a88b08a" providerId="LiveId" clId="{A0A1AF5B-C8A6-4505-B2BC-7B9D5E4B6587}" dt="2023-06-12T05:01:38.785" v="1953" actId="21"/>
          <ac:graphicFrameMkLst>
            <pc:docMk/>
            <pc:sldMk cId="3587433405" sldId="2147473759"/>
            <ac:graphicFrameMk id="4" creationId="{1C3949F6-165B-37DA-0AD7-A2E90FD73E1C}"/>
          </ac:graphicFrameMkLst>
        </pc:graphicFrameChg>
        <pc:graphicFrameChg chg="mod">
          <ac:chgData name="Tường SKHĐT" userId="ab9568c39a88b08a" providerId="LiveId" clId="{A0A1AF5B-C8A6-4505-B2BC-7B9D5E4B6587}" dt="2023-06-12T05:01:54.826" v="1956" actId="1076"/>
          <ac:graphicFrameMkLst>
            <pc:docMk/>
            <pc:sldMk cId="3587433405" sldId="2147473759"/>
            <ac:graphicFrameMk id="6" creationId="{70DD63C3-76F1-35B3-77EC-77EA21D4D2FE}"/>
          </ac:graphicFrameMkLst>
        </pc:graphicFrameChg>
      </pc:sldChg>
      <pc:sldChg chg="del">
        <pc:chgData name="Tường SKHĐT" userId="ab9568c39a88b08a" providerId="LiveId" clId="{A0A1AF5B-C8A6-4505-B2BC-7B9D5E4B6587}" dt="2023-06-12T05:03:38.687" v="1962" actId="2696"/>
        <pc:sldMkLst>
          <pc:docMk/>
          <pc:sldMk cId="3141092668" sldId="2147473760"/>
        </pc:sldMkLst>
      </pc:sldChg>
      <pc:sldChg chg="addSp delSp modSp mod">
        <pc:chgData name="Tường SKHĐT" userId="ab9568c39a88b08a" providerId="LiveId" clId="{A0A1AF5B-C8A6-4505-B2BC-7B9D5E4B6587}" dt="2023-06-12T04:42:48.886" v="1320" actId="14100"/>
        <pc:sldMkLst>
          <pc:docMk/>
          <pc:sldMk cId="4255944904" sldId="2147473766"/>
        </pc:sldMkLst>
        <pc:spChg chg="add mod">
          <ac:chgData name="Tường SKHĐT" userId="ab9568c39a88b08a" providerId="LiveId" clId="{A0A1AF5B-C8A6-4505-B2BC-7B9D5E4B6587}" dt="2023-06-12T04:42:45.128" v="1319" actId="20577"/>
          <ac:spMkLst>
            <pc:docMk/>
            <pc:sldMk cId="4255944904" sldId="2147473766"/>
            <ac:spMk id="2" creationId="{AD32428D-DFD3-1A5A-AD7B-B47617223596}"/>
          </ac:spMkLst>
        </pc:spChg>
        <pc:spChg chg="del">
          <ac:chgData name="Tường SKHĐT" userId="ab9568c39a88b08a" providerId="LiveId" clId="{A0A1AF5B-C8A6-4505-B2BC-7B9D5E4B6587}" dt="2023-06-12T04:42:39.757" v="1316" actId="21"/>
          <ac:spMkLst>
            <pc:docMk/>
            <pc:sldMk cId="4255944904" sldId="2147473766"/>
            <ac:spMk id="6" creationId="{D941B402-27FD-60A3-D08E-FE667B173AB3}"/>
          </ac:spMkLst>
        </pc:spChg>
        <pc:graphicFrameChg chg="mod">
          <ac:chgData name="Tường SKHĐT" userId="ab9568c39a88b08a" providerId="LiveId" clId="{A0A1AF5B-C8A6-4505-B2BC-7B9D5E4B6587}" dt="2023-06-12T04:42:48.886" v="1320" actId="14100"/>
          <ac:graphicFrameMkLst>
            <pc:docMk/>
            <pc:sldMk cId="4255944904" sldId="2147473766"/>
            <ac:graphicFrameMk id="4" creationId="{365C2945-1321-97F7-6CEB-6B75DD3AAE2D}"/>
          </ac:graphicFrameMkLst>
        </pc:graphicFrameChg>
      </pc:sldChg>
      <pc:sldChg chg="addSp delSp modSp mod">
        <pc:chgData name="Tường SKHĐT" userId="ab9568c39a88b08a" providerId="LiveId" clId="{A0A1AF5B-C8A6-4505-B2BC-7B9D5E4B6587}" dt="2023-06-12T04:43:10.932" v="1340" actId="1076"/>
        <pc:sldMkLst>
          <pc:docMk/>
          <pc:sldMk cId="2518956890" sldId="2147473767"/>
        </pc:sldMkLst>
        <pc:spChg chg="add mod">
          <ac:chgData name="Tường SKHĐT" userId="ab9568c39a88b08a" providerId="LiveId" clId="{A0A1AF5B-C8A6-4505-B2BC-7B9D5E4B6587}" dt="2023-06-12T04:43:10.932" v="1340" actId="1076"/>
          <ac:spMkLst>
            <pc:docMk/>
            <pc:sldMk cId="2518956890" sldId="2147473767"/>
            <ac:spMk id="2" creationId="{438A3ED9-DC1A-7623-0986-EEE26CDF7043}"/>
          </ac:spMkLst>
        </pc:spChg>
        <pc:spChg chg="del">
          <ac:chgData name="Tường SKHĐT" userId="ab9568c39a88b08a" providerId="LiveId" clId="{A0A1AF5B-C8A6-4505-B2BC-7B9D5E4B6587}" dt="2023-06-12T04:43:08.642" v="1339" actId="21"/>
          <ac:spMkLst>
            <pc:docMk/>
            <pc:sldMk cId="2518956890" sldId="2147473767"/>
            <ac:spMk id="7" creationId="{D941B402-27FD-60A3-D08E-FE667B173AB3}"/>
          </ac:spMkLst>
        </pc:spChg>
      </pc:sldChg>
      <pc:sldChg chg="addSp delSp modSp mod">
        <pc:chgData name="Tường SKHĐT" userId="ab9568c39a88b08a" providerId="LiveId" clId="{A0A1AF5B-C8A6-4505-B2BC-7B9D5E4B6587}" dt="2023-06-12T05:10:23.297" v="2343" actId="20577"/>
        <pc:sldMkLst>
          <pc:docMk/>
          <pc:sldMk cId="4140657677" sldId="2147473770"/>
        </pc:sldMkLst>
        <pc:spChg chg="del">
          <ac:chgData name="Tường SKHĐT" userId="ab9568c39a88b08a" providerId="LiveId" clId="{A0A1AF5B-C8A6-4505-B2BC-7B9D5E4B6587}" dt="2023-06-12T05:06:17.418" v="2049" actId="21"/>
          <ac:spMkLst>
            <pc:docMk/>
            <pc:sldMk cId="4140657677" sldId="2147473770"/>
            <ac:spMk id="2" creationId="{85B15777-9A9B-83C0-EAE1-18A3DD8356D6}"/>
          </ac:spMkLst>
        </pc:spChg>
        <pc:spChg chg="add mod">
          <ac:chgData name="Tường SKHĐT" userId="ab9568c39a88b08a" providerId="LiveId" clId="{A0A1AF5B-C8A6-4505-B2BC-7B9D5E4B6587}" dt="2023-06-12T05:10:23.297" v="2343" actId="20577"/>
          <ac:spMkLst>
            <pc:docMk/>
            <pc:sldMk cId="4140657677" sldId="2147473770"/>
            <ac:spMk id="5" creationId="{7732BB98-8A61-4A97-4E15-62F2E397C82B}"/>
          </ac:spMkLst>
        </pc:spChg>
        <pc:spChg chg="add del mod">
          <ac:chgData name="Tường SKHĐT" userId="ab9568c39a88b08a" providerId="LiveId" clId="{A0A1AF5B-C8A6-4505-B2BC-7B9D5E4B6587}" dt="2023-06-12T05:06:22.895" v="2050" actId="21"/>
          <ac:spMkLst>
            <pc:docMk/>
            <pc:sldMk cId="4140657677" sldId="2147473770"/>
            <ac:spMk id="7" creationId="{A157BF01-9A7E-6B95-EBC9-A3AC7E8CBC62}"/>
          </ac:spMkLst>
        </pc:spChg>
      </pc:sldChg>
      <pc:sldChg chg="modSp mod">
        <pc:chgData name="Tường SKHĐT" userId="ab9568c39a88b08a" providerId="LiveId" clId="{A0A1AF5B-C8A6-4505-B2BC-7B9D5E4B6587}" dt="2023-06-12T05:03:46.702" v="1965" actId="1076"/>
        <pc:sldMkLst>
          <pc:docMk/>
          <pc:sldMk cId="151479067" sldId="2147473792"/>
        </pc:sldMkLst>
        <pc:spChg chg="mod">
          <ac:chgData name="Tường SKHĐT" userId="ab9568c39a88b08a" providerId="LiveId" clId="{A0A1AF5B-C8A6-4505-B2BC-7B9D5E4B6587}" dt="2023-06-12T05:03:46.702" v="1965" actId="1076"/>
          <ac:spMkLst>
            <pc:docMk/>
            <pc:sldMk cId="151479067" sldId="2147473792"/>
            <ac:spMk id="9" creationId="{22359E8A-8D97-394A-42E1-F5A568F7E097}"/>
          </ac:spMkLst>
        </pc:spChg>
        <pc:spChg chg="mod">
          <ac:chgData name="Tường SKHĐT" userId="ab9568c39a88b08a" providerId="LiveId" clId="{A0A1AF5B-C8A6-4505-B2BC-7B9D5E4B6587}" dt="2023-06-12T05:03:43.916" v="1964" actId="20577"/>
          <ac:spMkLst>
            <pc:docMk/>
            <pc:sldMk cId="151479067" sldId="2147473792"/>
            <ac:spMk id="27" creationId="{01DC26C3-E6F4-C27A-8624-3A65D81B6008}"/>
          </ac:spMkLst>
        </pc:spChg>
      </pc:sldChg>
      <pc:sldChg chg="modSp add mod">
        <pc:chgData name="Tường SKHĐT" userId="ab9568c39a88b08a" providerId="LiveId" clId="{A0A1AF5B-C8A6-4505-B2BC-7B9D5E4B6587}" dt="2023-06-12T04:59:29.566" v="1931" actId="1076"/>
        <pc:sldMkLst>
          <pc:docMk/>
          <pc:sldMk cId="1652311740" sldId="2147473795"/>
        </pc:sldMkLst>
        <pc:graphicFrameChg chg="mod">
          <ac:chgData name="Tường SKHĐT" userId="ab9568c39a88b08a" providerId="LiveId" clId="{A0A1AF5B-C8A6-4505-B2BC-7B9D5E4B6587}" dt="2023-06-12T04:59:29.566" v="1931" actId="1076"/>
          <ac:graphicFrameMkLst>
            <pc:docMk/>
            <pc:sldMk cId="1652311740" sldId="2147473795"/>
            <ac:graphicFrameMk id="2" creationId="{3BF8E8E2-FC7A-766D-120A-12F0136F960F}"/>
          </ac:graphicFrameMkLst>
        </pc:graphicFrameChg>
        <pc:picChg chg="mod">
          <ac:chgData name="Tường SKHĐT" userId="ab9568c39a88b08a" providerId="LiveId" clId="{A0A1AF5B-C8A6-4505-B2BC-7B9D5E4B6587}" dt="2023-06-12T04:54:15.378" v="1831" actId="14100"/>
          <ac:picMkLst>
            <pc:docMk/>
            <pc:sldMk cId="1652311740" sldId="2147473795"/>
            <ac:picMk id="1026" creationId="{A887CE03-8559-81A5-3548-787EEA0450CF}"/>
          </ac:picMkLst>
        </pc:picChg>
      </pc:sldChg>
      <pc:sldChg chg="del">
        <pc:chgData name="Tường SKHĐT" userId="ab9568c39a88b08a" providerId="LiveId" clId="{A0A1AF5B-C8A6-4505-B2BC-7B9D5E4B6587}" dt="2023-06-12T04:11:21.593" v="495" actId="2696"/>
        <pc:sldMkLst>
          <pc:docMk/>
          <pc:sldMk cId="1326740925" sldId="2147473796"/>
        </pc:sldMkLst>
      </pc:sldChg>
      <pc:sldChg chg="add">
        <pc:chgData name="Tường SKHĐT" userId="ab9568c39a88b08a" providerId="LiveId" clId="{A0A1AF5B-C8A6-4505-B2BC-7B9D5E4B6587}" dt="2023-06-12T04:25:22.949" v="498"/>
        <pc:sldMkLst>
          <pc:docMk/>
          <pc:sldMk cId="374992807" sldId="2147473797"/>
        </pc:sldMkLst>
      </pc:sldChg>
      <pc:sldChg chg="modSp add mod">
        <pc:chgData name="Tường SKHĐT" userId="ab9568c39a88b08a" providerId="LiveId" clId="{A0A1AF5B-C8A6-4505-B2BC-7B9D5E4B6587}" dt="2023-06-12T05:00:33.700" v="1949" actId="1076"/>
        <pc:sldMkLst>
          <pc:docMk/>
          <pc:sldMk cId="1258887434" sldId="2147473798"/>
        </pc:sldMkLst>
        <pc:spChg chg="mod">
          <ac:chgData name="Tường SKHĐT" userId="ab9568c39a88b08a" providerId="LiveId" clId="{A0A1AF5B-C8A6-4505-B2BC-7B9D5E4B6587}" dt="2023-06-12T05:00:31.112" v="1948" actId="1076"/>
          <ac:spMkLst>
            <pc:docMk/>
            <pc:sldMk cId="1258887434" sldId="2147473798"/>
            <ac:spMk id="3" creationId="{2140C7B0-05C1-C164-779C-CE0FEAAA409A}"/>
          </ac:spMkLst>
        </pc:spChg>
        <pc:graphicFrameChg chg="mod modGraphic">
          <ac:chgData name="Tường SKHĐT" userId="ab9568c39a88b08a" providerId="LiveId" clId="{A0A1AF5B-C8A6-4505-B2BC-7B9D5E4B6587}" dt="2023-06-12T05:00:33.700" v="1949" actId="1076"/>
          <ac:graphicFrameMkLst>
            <pc:docMk/>
            <pc:sldMk cId="1258887434" sldId="2147473798"/>
            <ac:graphicFrameMk id="8" creationId="{FF75C5B9-FA20-47F5-0041-B54776507D44}"/>
          </ac:graphicFrameMkLst>
        </pc:graphicFrameChg>
      </pc:sldChg>
      <pc:sldChg chg="del">
        <pc:chgData name="Tường SKHĐT" userId="ab9568c39a88b08a" providerId="LiveId" clId="{A0A1AF5B-C8A6-4505-B2BC-7B9D5E4B6587}" dt="2023-06-12T05:03:02.327" v="1958" actId="2696"/>
        <pc:sldMkLst>
          <pc:docMk/>
          <pc:sldMk cId="3334048373" sldId="2147473799"/>
        </pc:sldMkLst>
      </pc:sldChg>
      <pc:sldChg chg="addSp delSp modSp add mod">
        <pc:chgData name="Tường SKHĐT" userId="ab9568c39a88b08a" providerId="LiveId" clId="{A0A1AF5B-C8A6-4505-B2BC-7B9D5E4B6587}" dt="2023-06-12T05:22:00.086" v="2747" actId="1076"/>
        <pc:sldMkLst>
          <pc:docMk/>
          <pc:sldMk cId="2028050016" sldId="2147473800"/>
        </pc:sldMkLst>
        <pc:spChg chg="mod">
          <ac:chgData name="Tường SKHĐT" userId="ab9568c39a88b08a" providerId="LiveId" clId="{A0A1AF5B-C8A6-4505-B2BC-7B9D5E4B6587}" dt="2023-06-12T05:22:00.086" v="2747" actId="1076"/>
          <ac:spMkLst>
            <pc:docMk/>
            <pc:sldMk cId="2028050016" sldId="2147473800"/>
            <ac:spMk id="25" creationId="{01DC26C3-E6F4-C27A-8624-3A65D81B6008}"/>
          </ac:spMkLst>
        </pc:spChg>
        <pc:graphicFrameChg chg="add mod">
          <ac:chgData name="Tường SKHĐT" userId="ab9568c39a88b08a" providerId="LiveId" clId="{A0A1AF5B-C8A6-4505-B2BC-7B9D5E4B6587}" dt="2023-06-12T04:57:06.890" v="1910" actId="1076"/>
          <ac:graphicFrameMkLst>
            <pc:docMk/>
            <pc:sldMk cId="2028050016" sldId="2147473800"/>
            <ac:graphicFrameMk id="2" creationId="{207C86B0-DBF4-FD20-221B-BD96FD50EA79}"/>
          </ac:graphicFrameMkLst>
        </pc:graphicFrameChg>
        <pc:graphicFrameChg chg="del">
          <ac:chgData name="Tường SKHĐT" userId="ab9568c39a88b08a" providerId="LiveId" clId="{A0A1AF5B-C8A6-4505-B2BC-7B9D5E4B6587}" dt="2023-06-12T04:57:02.492" v="1909" actId="21"/>
          <ac:graphicFrameMkLst>
            <pc:docMk/>
            <pc:sldMk cId="2028050016" sldId="2147473800"/>
            <ac:graphicFrameMk id="8" creationId="{B5E5335D-2EED-82AF-3A59-FAE8BB94EAE1}"/>
          </ac:graphicFrameMkLst>
        </pc:graphicFrameChg>
      </pc:sldChg>
      <pc:sldChg chg="addSp delSp modSp mod">
        <pc:chgData name="Tường SKHĐT" userId="ab9568c39a88b08a" providerId="LiveId" clId="{A0A1AF5B-C8A6-4505-B2BC-7B9D5E4B6587}" dt="2023-06-12T04:50:30.707" v="1712" actId="113"/>
        <pc:sldMkLst>
          <pc:docMk/>
          <pc:sldMk cId="3095520690" sldId="2147473801"/>
        </pc:sldMkLst>
        <pc:spChg chg="add mod">
          <ac:chgData name="Tường SKHĐT" userId="ab9568c39a88b08a" providerId="LiveId" clId="{A0A1AF5B-C8A6-4505-B2BC-7B9D5E4B6587}" dt="2023-06-12T04:43:35.707" v="1391" actId="1076"/>
          <ac:spMkLst>
            <pc:docMk/>
            <pc:sldMk cId="3095520690" sldId="2147473801"/>
            <ac:spMk id="2" creationId="{FF5FE1AB-790D-F2AD-5642-8CFCF4209F5A}"/>
          </ac:spMkLst>
        </pc:spChg>
        <pc:spChg chg="add mod">
          <ac:chgData name="Tường SKHĐT" userId="ab9568c39a88b08a" providerId="LiveId" clId="{A0A1AF5B-C8A6-4505-B2BC-7B9D5E4B6587}" dt="2023-06-12T04:43:49.879" v="1416" actId="1076"/>
          <ac:spMkLst>
            <pc:docMk/>
            <pc:sldMk cId="3095520690" sldId="2147473801"/>
            <ac:spMk id="3" creationId="{D5A12347-8B3F-FD0A-4985-F0A0362D6EDD}"/>
          </ac:spMkLst>
        </pc:spChg>
        <pc:spChg chg="del">
          <ac:chgData name="Tường SKHĐT" userId="ab9568c39a88b08a" providerId="LiveId" clId="{A0A1AF5B-C8A6-4505-B2BC-7B9D5E4B6587}" dt="2023-06-12T04:43:33.387" v="1390" actId="21"/>
          <ac:spMkLst>
            <pc:docMk/>
            <pc:sldMk cId="3095520690" sldId="2147473801"/>
            <ac:spMk id="4" creationId="{9B1EE58E-003F-122B-AAA3-4CD0DC67997A}"/>
          </ac:spMkLst>
        </pc:spChg>
        <pc:spChg chg="del">
          <ac:chgData name="Tường SKHĐT" userId="ab9568c39a88b08a" providerId="LiveId" clId="{A0A1AF5B-C8A6-4505-B2BC-7B9D5E4B6587}" dt="2023-06-12T04:43:47.767" v="1415" actId="21"/>
          <ac:spMkLst>
            <pc:docMk/>
            <pc:sldMk cId="3095520690" sldId="2147473801"/>
            <ac:spMk id="6" creationId="{D941B402-27FD-60A3-D08E-FE667B173AB3}"/>
          </ac:spMkLst>
        </pc:spChg>
        <pc:graphicFrameChg chg="mod modGraphic">
          <ac:chgData name="Tường SKHĐT" userId="ab9568c39a88b08a" providerId="LiveId" clId="{A0A1AF5B-C8A6-4505-B2BC-7B9D5E4B6587}" dt="2023-06-12T04:50:30.707" v="1712" actId="113"/>
          <ac:graphicFrameMkLst>
            <pc:docMk/>
            <pc:sldMk cId="3095520690" sldId="2147473801"/>
            <ac:graphicFrameMk id="5" creationId="{B5E5335D-2EED-82AF-3A59-FAE8BB94EAE1}"/>
          </ac:graphicFrameMkLst>
        </pc:graphicFrameChg>
      </pc:sldChg>
      <pc:sldChg chg="addSp delSp modSp mod">
        <pc:chgData name="Tường SKHĐT" userId="ab9568c39a88b08a" providerId="LiveId" clId="{A0A1AF5B-C8A6-4505-B2BC-7B9D5E4B6587}" dt="2023-06-12T04:53:07.729" v="1822" actId="1076"/>
        <pc:sldMkLst>
          <pc:docMk/>
          <pc:sldMk cId="3639331486" sldId="2147473803"/>
        </pc:sldMkLst>
        <pc:spChg chg="add mod">
          <ac:chgData name="Tường SKHĐT" userId="ab9568c39a88b08a" providerId="LiveId" clId="{A0A1AF5B-C8A6-4505-B2BC-7B9D5E4B6587}" dt="2023-06-12T04:53:00.147" v="1819" actId="14100"/>
          <ac:spMkLst>
            <pc:docMk/>
            <pc:sldMk cId="3639331486" sldId="2147473803"/>
            <ac:spMk id="2" creationId="{AC5B4F37-4AA8-473F-AAED-FA4A86EF1B4F}"/>
          </ac:spMkLst>
        </pc:spChg>
        <pc:spChg chg="del">
          <ac:chgData name="Tường SKHĐT" userId="ab9568c39a88b08a" providerId="LiveId" clId="{A0A1AF5B-C8A6-4505-B2BC-7B9D5E4B6587}" dt="2023-06-12T04:52:49.122" v="1814" actId="21"/>
          <ac:spMkLst>
            <pc:docMk/>
            <pc:sldMk cId="3639331486" sldId="2147473803"/>
            <ac:spMk id="7" creationId="{E2060C7B-D80B-2D4B-6C50-1215E3EA3460}"/>
          </ac:spMkLst>
        </pc:spChg>
        <pc:graphicFrameChg chg="mod">
          <ac:chgData name="Tường SKHĐT" userId="ab9568c39a88b08a" providerId="LiveId" clId="{A0A1AF5B-C8A6-4505-B2BC-7B9D5E4B6587}" dt="2023-06-12T04:53:03.794" v="1820" actId="1076"/>
          <ac:graphicFrameMkLst>
            <pc:docMk/>
            <pc:sldMk cId="3639331486" sldId="2147473803"/>
            <ac:graphicFrameMk id="3" creationId="{2B60E389-3C15-E216-2343-FACD1755B5AD}"/>
          </ac:graphicFrameMkLst>
        </pc:graphicFrameChg>
        <pc:graphicFrameChg chg="mod">
          <ac:chgData name="Tường SKHĐT" userId="ab9568c39a88b08a" providerId="LiveId" clId="{A0A1AF5B-C8A6-4505-B2BC-7B9D5E4B6587}" dt="2023-06-12T04:53:07.729" v="1822" actId="1076"/>
          <ac:graphicFrameMkLst>
            <pc:docMk/>
            <pc:sldMk cId="3639331486" sldId="2147473803"/>
            <ac:graphicFrameMk id="4" creationId="{10020C62-DCED-F22A-3371-D9E940142385}"/>
          </ac:graphicFrameMkLst>
        </pc:graphicFrameChg>
        <pc:picChg chg="mod">
          <ac:chgData name="Tường SKHĐT" userId="ab9568c39a88b08a" providerId="LiveId" clId="{A0A1AF5B-C8A6-4505-B2BC-7B9D5E4B6587}" dt="2023-06-12T04:53:05.230" v="1821" actId="1076"/>
          <ac:picMkLst>
            <pc:docMk/>
            <pc:sldMk cId="3639331486" sldId="2147473803"/>
            <ac:picMk id="1028" creationId="{6BE3EB7E-E3A6-4F75-82A7-DD72F3804434}"/>
          </ac:picMkLst>
        </pc:picChg>
      </pc:sldChg>
      <pc:sldChg chg="modSp mod">
        <pc:chgData name="Tường SKHĐT" userId="ab9568c39a88b08a" providerId="LiveId" clId="{A0A1AF5B-C8A6-4505-B2BC-7B9D5E4B6587}" dt="2023-06-12T05:05:01.172" v="1983" actId="20577"/>
        <pc:sldMkLst>
          <pc:docMk/>
          <pc:sldMk cId="3887791985" sldId="2147473805"/>
        </pc:sldMkLst>
        <pc:spChg chg="mod">
          <ac:chgData name="Tường SKHĐT" userId="ab9568c39a88b08a" providerId="LiveId" clId="{A0A1AF5B-C8A6-4505-B2BC-7B9D5E4B6587}" dt="2023-06-12T04:51:49.706" v="1732" actId="113"/>
          <ac:spMkLst>
            <pc:docMk/>
            <pc:sldMk cId="3887791985" sldId="2147473805"/>
            <ac:spMk id="2" creationId="{9B1EE58E-003F-122B-AAA3-4CD0DC67997A}"/>
          </ac:spMkLst>
        </pc:spChg>
        <pc:graphicFrameChg chg="modGraphic">
          <ac:chgData name="Tường SKHĐT" userId="ab9568c39a88b08a" providerId="LiveId" clId="{A0A1AF5B-C8A6-4505-B2BC-7B9D5E4B6587}" dt="2023-06-12T05:05:01.172" v="1983" actId="20577"/>
          <ac:graphicFrameMkLst>
            <pc:docMk/>
            <pc:sldMk cId="3887791985" sldId="2147473805"/>
            <ac:graphicFrameMk id="5" creationId="{B5E5335D-2EED-82AF-3A59-FAE8BB94EAE1}"/>
          </ac:graphicFrameMkLst>
        </pc:graphicFrameChg>
      </pc:sldChg>
      <pc:sldChg chg="addSp delSp modSp mod">
        <pc:chgData name="Tường SKHĐT" userId="ab9568c39a88b08a" providerId="LiveId" clId="{A0A1AF5B-C8A6-4505-B2BC-7B9D5E4B6587}" dt="2023-06-12T04:51:42.936" v="1731" actId="20577"/>
        <pc:sldMkLst>
          <pc:docMk/>
          <pc:sldMk cId="520020494" sldId="2147473806"/>
        </pc:sldMkLst>
        <pc:spChg chg="add mod">
          <ac:chgData name="Tường SKHĐT" userId="ab9568c39a88b08a" providerId="LiveId" clId="{A0A1AF5B-C8A6-4505-B2BC-7B9D5E4B6587}" dt="2023-06-12T04:50:46.380" v="1720" actId="1076"/>
          <ac:spMkLst>
            <pc:docMk/>
            <pc:sldMk cId="520020494" sldId="2147473806"/>
            <ac:spMk id="2" creationId="{EAEE3DC6-2C24-8C50-E398-E5005906C42E}"/>
          </ac:spMkLst>
        </pc:spChg>
        <pc:spChg chg="del">
          <ac:chgData name="Tường SKHĐT" userId="ab9568c39a88b08a" providerId="LiveId" clId="{A0A1AF5B-C8A6-4505-B2BC-7B9D5E4B6587}" dt="2023-06-12T04:50:44.656" v="1719" actId="21"/>
          <ac:spMkLst>
            <pc:docMk/>
            <pc:sldMk cId="520020494" sldId="2147473806"/>
            <ac:spMk id="6" creationId="{9B1EE58E-003F-122B-AAA3-4CD0DC67997A}"/>
          </ac:spMkLst>
        </pc:spChg>
        <pc:graphicFrameChg chg="mod modGraphic">
          <ac:chgData name="Tường SKHĐT" userId="ab9568c39a88b08a" providerId="LiveId" clId="{A0A1AF5B-C8A6-4505-B2BC-7B9D5E4B6587}" dt="2023-06-12T04:51:42.936" v="1731" actId="20577"/>
          <ac:graphicFrameMkLst>
            <pc:docMk/>
            <pc:sldMk cId="520020494" sldId="2147473806"/>
            <ac:graphicFrameMk id="5" creationId="{B5E5335D-2EED-82AF-3A59-FAE8BB94EAE1}"/>
          </ac:graphicFrameMkLst>
        </pc:graphicFrameChg>
      </pc:sldChg>
      <pc:sldChg chg="addSp delSp modSp mod">
        <pc:chgData name="Tường SKHĐT" userId="ab9568c39a88b08a" providerId="LiveId" clId="{A0A1AF5B-C8A6-4505-B2BC-7B9D5E4B6587}" dt="2023-06-12T04:29:45.479" v="577" actId="1076"/>
        <pc:sldMkLst>
          <pc:docMk/>
          <pc:sldMk cId="3832623815" sldId="2147473815"/>
        </pc:sldMkLst>
        <pc:spChg chg="add del mod">
          <ac:chgData name="Tường SKHĐT" userId="ab9568c39a88b08a" providerId="LiveId" clId="{A0A1AF5B-C8A6-4505-B2BC-7B9D5E4B6587}" dt="2023-06-12T04:28:45.857" v="504" actId="21"/>
          <ac:spMkLst>
            <pc:docMk/>
            <pc:sldMk cId="3832623815" sldId="2147473815"/>
            <ac:spMk id="2" creationId="{107DCCA6-9064-8AFE-5A99-768D64A2DF2C}"/>
          </ac:spMkLst>
        </pc:spChg>
        <pc:spChg chg="add mod">
          <ac:chgData name="Tường SKHĐT" userId="ab9568c39a88b08a" providerId="LiveId" clId="{A0A1AF5B-C8A6-4505-B2BC-7B9D5E4B6587}" dt="2023-06-12T04:29:05.840" v="536" actId="14100"/>
          <ac:spMkLst>
            <pc:docMk/>
            <pc:sldMk cId="3832623815" sldId="2147473815"/>
            <ac:spMk id="3" creationId="{5DE338C7-6E53-0F86-ED53-67FC923D06A8}"/>
          </ac:spMkLst>
        </pc:spChg>
        <pc:spChg chg="add mod">
          <ac:chgData name="Tường SKHĐT" userId="ab9568c39a88b08a" providerId="LiveId" clId="{A0A1AF5B-C8A6-4505-B2BC-7B9D5E4B6587}" dt="2023-06-12T04:29:45.479" v="577" actId="1076"/>
          <ac:spMkLst>
            <pc:docMk/>
            <pc:sldMk cId="3832623815" sldId="2147473815"/>
            <ac:spMk id="4" creationId="{82A58F1E-E2AD-B19A-A7E7-6ED94727028A}"/>
          </ac:spMkLst>
        </pc:spChg>
        <pc:spChg chg="del">
          <ac:chgData name="Tường SKHĐT" userId="ab9568c39a88b08a" providerId="LiveId" clId="{A0A1AF5B-C8A6-4505-B2BC-7B9D5E4B6587}" dt="2023-06-12T04:29:21.942" v="570" actId="21"/>
          <ac:spMkLst>
            <pc:docMk/>
            <pc:sldMk cId="3832623815" sldId="2147473815"/>
            <ac:spMk id="7" creationId="{D941B402-27FD-60A3-D08E-FE667B173AB3}"/>
          </ac:spMkLst>
        </pc:spChg>
        <pc:spChg chg="del">
          <ac:chgData name="Tường SKHĐT" userId="ab9568c39a88b08a" providerId="LiveId" clId="{A0A1AF5B-C8A6-4505-B2BC-7B9D5E4B6587}" dt="2023-06-12T04:29:29.811" v="573" actId="21"/>
          <ac:spMkLst>
            <pc:docMk/>
            <pc:sldMk cId="3832623815" sldId="2147473815"/>
            <ac:spMk id="12" creationId="{8A67A444-F448-A9A5-7360-DFFFEB3A5F6E}"/>
          </ac:spMkLst>
        </pc:spChg>
        <pc:spChg chg="del mod">
          <ac:chgData name="Tường SKHĐT" userId="ab9568c39a88b08a" providerId="LiveId" clId="{A0A1AF5B-C8A6-4505-B2BC-7B9D5E4B6587}" dt="2023-06-12T04:29:03.164" v="535" actId="21"/>
          <ac:spMkLst>
            <pc:docMk/>
            <pc:sldMk cId="3832623815" sldId="2147473815"/>
            <ac:spMk id="13" creationId="{D941B402-27FD-60A3-D08E-FE667B173AB3}"/>
          </ac:spMkLst>
        </pc:spChg>
        <pc:graphicFrameChg chg="mod">
          <ac:chgData name="Tường SKHĐT" userId="ab9568c39a88b08a" providerId="LiveId" clId="{A0A1AF5B-C8A6-4505-B2BC-7B9D5E4B6587}" dt="2023-06-12T04:29:41.431" v="576" actId="14100"/>
          <ac:graphicFrameMkLst>
            <pc:docMk/>
            <pc:sldMk cId="3832623815" sldId="2147473815"/>
            <ac:graphicFrameMk id="9" creationId="{0738877F-56EF-4DEF-B5AA-1664DC8186CF}"/>
          </ac:graphicFrameMkLst>
        </pc:graphicFrameChg>
      </pc:sldChg>
      <pc:sldChg chg="addSp delSp modSp mod">
        <pc:chgData name="Tường SKHĐT" userId="ab9568c39a88b08a" providerId="LiveId" clId="{A0A1AF5B-C8A6-4505-B2BC-7B9D5E4B6587}" dt="2023-06-12T07:09:15.857" v="4671" actId="20577"/>
        <pc:sldMkLst>
          <pc:docMk/>
          <pc:sldMk cId="3991450162" sldId="2147473816"/>
        </pc:sldMkLst>
        <pc:spChg chg="add mod">
          <ac:chgData name="Tường SKHĐT" userId="ab9568c39a88b08a" providerId="LiveId" clId="{A0A1AF5B-C8A6-4505-B2BC-7B9D5E4B6587}" dt="2023-06-12T04:30:40.135" v="604" actId="20577"/>
          <ac:spMkLst>
            <pc:docMk/>
            <pc:sldMk cId="3991450162" sldId="2147473816"/>
            <ac:spMk id="2" creationId="{C2DB16E0-DBB0-564F-83B3-7B6656F447DF}"/>
          </ac:spMkLst>
        </pc:spChg>
        <pc:spChg chg="mod">
          <ac:chgData name="Tường SKHĐT" userId="ab9568c39a88b08a" providerId="LiveId" clId="{A0A1AF5B-C8A6-4505-B2BC-7B9D5E4B6587}" dt="2023-06-12T04:32:09.677" v="741" actId="1076"/>
          <ac:spMkLst>
            <pc:docMk/>
            <pc:sldMk cId="3991450162" sldId="2147473816"/>
            <ac:spMk id="4" creationId="{5CDB4122-EC53-12DB-1589-C6E8678CCB1C}"/>
          </ac:spMkLst>
        </pc:spChg>
        <pc:spChg chg="del">
          <ac:chgData name="Tường SKHĐT" userId="ab9568c39a88b08a" providerId="LiveId" clId="{A0A1AF5B-C8A6-4505-B2BC-7B9D5E4B6587}" dt="2023-06-12T04:30:09.663" v="596" actId="21"/>
          <ac:spMkLst>
            <pc:docMk/>
            <pc:sldMk cId="3991450162" sldId="2147473816"/>
            <ac:spMk id="5" creationId="{13C6177D-64B9-5B4D-AA6B-571EB29BED77}"/>
          </ac:spMkLst>
        </pc:spChg>
        <pc:spChg chg="del mod">
          <ac:chgData name="Tường SKHĐT" userId="ab9568c39a88b08a" providerId="LiveId" clId="{A0A1AF5B-C8A6-4505-B2BC-7B9D5E4B6587}" dt="2023-06-12T04:31:37.969" v="736" actId="21"/>
          <ac:spMkLst>
            <pc:docMk/>
            <pc:sldMk cId="3991450162" sldId="2147473816"/>
            <ac:spMk id="6" creationId="{AD8FCB44-5401-4810-551D-B0072A6956BA}"/>
          </ac:spMkLst>
        </pc:spChg>
        <pc:spChg chg="add mod">
          <ac:chgData name="Tường SKHĐT" userId="ab9568c39a88b08a" providerId="LiveId" clId="{A0A1AF5B-C8A6-4505-B2BC-7B9D5E4B6587}" dt="2023-06-12T07:09:15.857" v="4671" actId="20577"/>
          <ac:spMkLst>
            <pc:docMk/>
            <pc:sldMk cId="3991450162" sldId="2147473816"/>
            <ac:spMk id="7" creationId="{2ED23297-15CF-7AEC-0107-698F5A9FF895}"/>
          </ac:spMkLst>
        </pc:spChg>
        <pc:graphicFrameChg chg="mod">
          <ac:chgData name="Tường SKHĐT" userId="ab9568c39a88b08a" providerId="LiveId" clId="{A0A1AF5B-C8A6-4505-B2BC-7B9D5E4B6587}" dt="2023-06-12T04:31:46.143" v="738" actId="1076"/>
          <ac:graphicFrameMkLst>
            <pc:docMk/>
            <pc:sldMk cId="3991450162" sldId="2147473816"/>
            <ac:graphicFrameMk id="3" creationId="{0636A76A-35B9-0329-EF8B-185DBFAD93AA}"/>
          </ac:graphicFrameMkLst>
        </pc:graphicFrameChg>
      </pc:sldChg>
      <pc:sldChg chg="addSp delSp modSp mod">
        <pc:chgData name="Tường SKHĐT" userId="ab9568c39a88b08a" providerId="LiveId" clId="{A0A1AF5B-C8A6-4505-B2BC-7B9D5E4B6587}" dt="2023-06-12T04:32:43.015" v="748" actId="1076"/>
        <pc:sldMkLst>
          <pc:docMk/>
          <pc:sldMk cId="2467822724" sldId="2147473817"/>
        </pc:sldMkLst>
        <pc:spChg chg="add mod">
          <ac:chgData name="Tường SKHĐT" userId="ab9568c39a88b08a" providerId="LiveId" clId="{A0A1AF5B-C8A6-4505-B2BC-7B9D5E4B6587}" dt="2023-06-12T04:32:43.015" v="748" actId="1076"/>
          <ac:spMkLst>
            <pc:docMk/>
            <pc:sldMk cId="2467822724" sldId="2147473817"/>
            <ac:spMk id="2" creationId="{D906555C-3604-49A9-3FD1-FFA453B732A1}"/>
          </ac:spMkLst>
        </pc:spChg>
        <pc:spChg chg="del mod">
          <ac:chgData name="Tường SKHĐT" userId="ab9568c39a88b08a" providerId="LiveId" clId="{A0A1AF5B-C8A6-4505-B2BC-7B9D5E4B6587}" dt="2023-06-12T04:32:40.737" v="747" actId="21"/>
          <ac:spMkLst>
            <pc:docMk/>
            <pc:sldMk cId="2467822724" sldId="2147473817"/>
            <ac:spMk id="4" creationId="{4C480D0D-7409-CDE3-E079-F2C1ED1FACE3}"/>
          </ac:spMkLst>
        </pc:spChg>
      </pc:sldChg>
      <pc:sldChg chg="addSp delSp modSp mod">
        <pc:chgData name="Tường SKHĐT" userId="ab9568c39a88b08a" providerId="LiveId" clId="{A0A1AF5B-C8A6-4505-B2BC-7B9D5E4B6587}" dt="2023-06-12T04:33:24.804" v="759" actId="20577"/>
        <pc:sldMkLst>
          <pc:docMk/>
          <pc:sldMk cId="163795267" sldId="2147473818"/>
        </pc:sldMkLst>
        <pc:spChg chg="mod">
          <ac:chgData name="Tường SKHĐT" userId="ab9568c39a88b08a" providerId="LiveId" clId="{A0A1AF5B-C8A6-4505-B2BC-7B9D5E4B6587}" dt="2023-06-12T04:33:00.081" v="751" actId="1076"/>
          <ac:spMkLst>
            <pc:docMk/>
            <pc:sldMk cId="163795267" sldId="2147473818"/>
            <ac:spMk id="2" creationId="{00000000-0000-0000-0000-000000000000}"/>
          </ac:spMkLst>
        </pc:spChg>
        <pc:spChg chg="add mod">
          <ac:chgData name="Tường SKHĐT" userId="ab9568c39a88b08a" providerId="LiveId" clId="{A0A1AF5B-C8A6-4505-B2BC-7B9D5E4B6587}" dt="2023-06-12T04:33:24.804" v="759" actId="20577"/>
          <ac:spMkLst>
            <pc:docMk/>
            <pc:sldMk cId="163795267" sldId="2147473818"/>
            <ac:spMk id="3" creationId="{98B36CA8-0466-6E21-63C6-933CF348F495}"/>
          </ac:spMkLst>
        </pc:spChg>
        <pc:spChg chg="del">
          <ac:chgData name="Tường SKHĐT" userId="ab9568c39a88b08a" providerId="LiveId" clId="{A0A1AF5B-C8A6-4505-B2BC-7B9D5E4B6587}" dt="2023-06-12T04:33:20.086" v="756" actId="21"/>
          <ac:spMkLst>
            <pc:docMk/>
            <pc:sldMk cId="163795267" sldId="2147473818"/>
            <ac:spMk id="4" creationId="{5DDFB1B9-9FA7-5CF0-AB22-DCB06431AEA4}"/>
          </ac:spMkLst>
        </pc:spChg>
      </pc:sldChg>
      <pc:sldChg chg="addSp delSp modSp mod">
        <pc:chgData name="Tường SKHĐT" userId="ab9568c39a88b08a" providerId="LiveId" clId="{A0A1AF5B-C8A6-4505-B2BC-7B9D5E4B6587}" dt="2023-06-12T04:34:25.179" v="778" actId="1076"/>
        <pc:sldMkLst>
          <pc:docMk/>
          <pc:sldMk cId="1689242850" sldId="2147473819"/>
        </pc:sldMkLst>
        <pc:spChg chg="add mod">
          <ac:chgData name="Tường SKHĐT" userId="ab9568c39a88b08a" providerId="LiveId" clId="{A0A1AF5B-C8A6-4505-B2BC-7B9D5E4B6587}" dt="2023-06-12T04:34:25.179" v="778" actId="1076"/>
          <ac:spMkLst>
            <pc:docMk/>
            <pc:sldMk cId="1689242850" sldId="2147473819"/>
            <ac:spMk id="3" creationId="{9C4B6EDD-2FF8-1579-A98A-96F6002EC4FF}"/>
          </ac:spMkLst>
        </pc:spChg>
        <pc:spChg chg="mod">
          <ac:chgData name="Tường SKHĐT" userId="ab9568c39a88b08a" providerId="LiveId" clId="{A0A1AF5B-C8A6-4505-B2BC-7B9D5E4B6587}" dt="2023-06-12T04:33:57.787" v="768" actId="1076"/>
          <ac:spMkLst>
            <pc:docMk/>
            <pc:sldMk cId="1689242850" sldId="2147473819"/>
            <ac:spMk id="6" creationId="{06D03D79-0B62-8633-2463-3F508B07C798}"/>
          </ac:spMkLst>
        </pc:spChg>
        <pc:spChg chg="mod">
          <ac:chgData name="Tường SKHĐT" userId="ab9568c39a88b08a" providerId="LiveId" clId="{A0A1AF5B-C8A6-4505-B2BC-7B9D5E4B6587}" dt="2023-06-12T04:34:10.899" v="774" actId="1076"/>
          <ac:spMkLst>
            <pc:docMk/>
            <pc:sldMk cId="1689242850" sldId="2147473819"/>
            <ac:spMk id="7" creationId="{E6639C72-69F2-1AB3-FDD1-BBD1532EF732}"/>
          </ac:spMkLst>
        </pc:spChg>
        <pc:spChg chg="del mod">
          <ac:chgData name="Tường SKHĐT" userId="ab9568c39a88b08a" providerId="LiveId" clId="{A0A1AF5B-C8A6-4505-B2BC-7B9D5E4B6587}" dt="2023-06-12T04:33:51.501" v="766" actId="21"/>
          <ac:spMkLst>
            <pc:docMk/>
            <pc:sldMk cId="1689242850" sldId="2147473819"/>
            <ac:spMk id="10" creationId="{99B4B44D-D9C2-C082-591B-8A4A5C18BE6A}"/>
          </ac:spMkLst>
        </pc:spChg>
        <pc:graphicFrameChg chg="mod">
          <ac:chgData name="Tường SKHĐT" userId="ab9568c39a88b08a" providerId="LiveId" clId="{A0A1AF5B-C8A6-4505-B2BC-7B9D5E4B6587}" dt="2023-06-12T04:34:21.593" v="777" actId="14100"/>
          <ac:graphicFrameMkLst>
            <pc:docMk/>
            <pc:sldMk cId="1689242850" sldId="2147473819"/>
            <ac:graphicFrameMk id="2" creationId="{346F163C-66BC-C7A6-BB15-9C16C1787CC5}"/>
          </ac:graphicFrameMkLst>
        </pc:graphicFrameChg>
        <pc:graphicFrameChg chg="mod">
          <ac:chgData name="Tường SKHĐT" userId="ab9568c39a88b08a" providerId="LiveId" clId="{A0A1AF5B-C8A6-4505-B2BC-7B9D5E4B6587}" dt="2023-06-12T04:34:07.816" v="773" actId="14100"/>
          <ac:graphicFrameMkLst>
            <pc:docMk/>
            <pc:sldMk cId="1689242850" sldId="2147473819"/>
            <ac:graphicFrameMk id="5" creationId="{75A55BE3-D598-1BB1-2774-416D11B1FB7C}"/>
          </ac:graphicFrameMkLst>
        </pc:graphicFrameChg>
      </pc:sldChg>
      <pc:sldChg chg="addSp delSp modSp mod">
        <pc:chgData name="Tường SKHĐT" userId="ab9568c39a88b08a" providerId="LiveId" clId="{A0A1AF5B-C8A6-4505-B2BC-7B9D5E4B6587}" dt="2023-06-12T04:42:12.901" v="1214" actId="404"/>
        <pc:sldMkLst>
          <pc:docMk/>
          <pc:sldMk cId="4102523892" sldId="2147473820"/>
        </pc:sldMkLst>
        <pc:spChg chg="add mod">
          <ac:chgData name="Tường SKHĐT" userId="ab9568c39a88b08a" providerId="LiveId" clId="{A0A1AF5B-C8A6-4505-B2BC-7B9D5E4B6587}" dt="2023-06-12T04:41:39.553" v="1171" actId="1076"/>
          <ac:spMkLst>
            <pc:docMk/>
            <pc:sldMk cId="4102523892" sldId="2147473820"/>
            <ac:spMk id="2" creationId="{C319B6E8-E0FA-42B9-2B2A-B247DE1D39DA}"/>
          </ac:spMkLst>
        </pc:spChg>
        <pc:spChg chg="add mod">
          <ac:chgData name="Tường SKHĐT" userId="ab9568c39a88b08a" providerId="LiveId" clId="{A0A1AF5B-C8A6-4505-B2BC-7B9D5E4B6587}" dt="2023-06-12T04:41:52.071" v="1174"/>
          <ac:spMkLst>
            <pc:docMk/>
            <pc:sldMk cId="4102523892" sldId="2147473820"/>
            <ac:spMk id="3" creationId="{8994FA03-C0F5-3BAB-63E2-5070725B45A7}"/>
          </ac:spMkLst>
        </pc:spChg>
        <pc:spChg chg="add mod">
          <ac:chgData name="Tường SKHĐT" userId="ab9568c39a88b08a" providerId="LiveId" clId="{A0A1AF5B-C8A6-4505-B2BC-7B9D5E4B6587}" dt="2023-06-12T04:42:12.901" v="1214" actId="404"/>
          <ac:spMkLst>
            <pc:docMk/>
            <pc:sldMk cId="4102523892" sldId="2147473820"/>
            <ac:spMk id="5" creationId="{F39EB991-F16B-C0CE-8C81-5C98F9C72AAB}"/>
          </ac:spMkLst>
        </pc:spChg>
        <pc:spChg chg="del">
          <ac:chgData name="Tường SKHĐT" userId="ab9568c39a88b08a" providerId="LiveId" clId="{A0A1AF5B-C8A6-4505-B2BC-7B9D5E4B6587}" dt="2023-06-12T04:41:33.995" v="1167" actId="21"/>
          <ac:spMkLst>
            <pc:docMk/>
            <pc:sldMk cId="4102523892" sldId="2147473820"/>
            <ac:spMk id="7" creationId="{D941B402-27FD-60A3-D08E-FE667B173AB3}"/>
          </ac:spMkLst>
        </pc:spChg>
        <pc:spChg chg="mod">
          <ac:chgData name="Tường SKHĐT" userId="ab9568c39a88b08a" providerId="LiveId" clId="{A0A1AF5B-C8A6-4505-B2BC-7B9D5E4B6587}" dt="2023-06-12T04:41:50.295" v="1173" actId="14100"/>
          <ac:spMkLst>
            <pc:docMk/>
            <pc:sldMk cId="4102523892" sldId="2147473820"/>
            <ac:spMk id="8" creationId="{00000000-0000-0000-0000-000000000000}"/>
          </ac:spMkLst>
        </pc:spChg>
        <pc:spChg chg="del mod">
          <ac:chgData name="Tường SKHĐT" userId="ab9568c39a88b08a" providerId="LiveId" clId="{A0A1AF5B-C8A6-4505-B2BC-7B9D5E4B6587}" dt="2023-06-12T04:41:57.943" v="1175" actId="21"/>
          <ac:spMkLst>
            <pc:docMk/>
            <pc:sldMk cId="4102523892" sldId="2147473820"/>
            <ac:spMk id="9" creationId="{D941B402-27FD-60A3-D08E-FE667B173AB3}"/>
          </ac:spMkLst>
        </pc:spChg>
      </pc:sldChg>
      <pc:sldChg chg="del">
        <pc:chgData name="Tường SKHĐT" userId="ab9568c39a88b08a" providerId="LiveId" clId="{A0A1AF5B-C8A6-4505-B2BC-7B9D5E4B6587}" dt="2023-06-12T04:37:30.390" v="1011" actId="2696"/>
        <pc:sldMkLst>
          <pc:docMk/>
          <pc:sldMk cId="18840407" sldId="2147473822"/>
        </pc:sldMkLst>
      </pc:sldChg>
      <pc:sldChg chg="modSp mod">
        <pc:chgData name="Tường SKHĐT" userId="ab9568c39a88b08a" providerId="LiveId" clId="{A0A1AF5B-C8A6-4505-B2BC-7B9D5E4B6587}" dt="2023-06-12T04:40:53.574" v="1058" actId="1035"/>
        <pc:sldMkLst>
          <pc:docMk/>
          <pc:sldMk cId="1767965964" sldId="2147473823"/>
        </pc:sldMkLst>
        <pc:spChg chg="mod">
          <ac:chgData name="Tường SKHĐT" userId="ab9568c39a88b08a" providerId="LiveId" clId="{A0A1AF5B-C8A6-4505-B2BC-7B9D5E4B6587}" dt="2023-06-12T04:38:09.642" v="1019" actId="1076"/>
          <ac:spMkLst>
            <pc:docMk/>
            <pc:sldMk cId="1767965964" sldId="2147473823"/>
            <ac:spMk id="3" creationId="{9363D8CF-2C85-3BF9-B7BB-9B85B15F2F06}"/>
          </ac:spMkLst>
        </pc:spChg>
        <pc:graphicFrameChg chg="mod">
          <ac:chgData name="Tường SKHĐT" userId="ab9568c39a88b08a" providerId="LiveId" clId="{A0A1AF5B-C8A6-4505-B2BC-7B9D5E4B6587}" dt="2023-06-12T04:40:53.574" v="1058" actId="1035"/>
          <ac:graphicFrameMkLst>
            <pc:docMk/>
            <pc:sldMk cId="1767965964" sldId="2147473823"/>
            <ac:graphicFrameMk id="4" creationId="{CB125874-AF46-08B5-FA85-D0900844E51C}"/>
          </ac:graphicFrameMkLst>
        </pc:graphicFrameChg>
      </pc:sldChg>
      <pc:sldChg chg="modSp mod">
        <pc:chgData name="Tường SKHĐT" userId="ab9568c39a88b08a" providerId="LiveId" clId="{A0A1AF5B-C8A6-4505-B2BC-7B9D5E4B6587}" dt="2023-06-12T04:40:47.991" v="1056" actId="1035"/>
        <pc:sldMkLst>
          <pc:docMk/>
          <pc:sldMk cId="82429981" sldId="2147473824"/>
        </pc:sldMkLst>
        <pc:spChg chg="mod">
          <ac:chgData name="Tường SKHĐT" userId="ab9568c39a88b08a" providerId="LiveId" clId="{A0A1AF5B-C8A6-4505-B2BC-7B9D5E4B6587}" dt="2023-06-12T04:37:56.658" v="1016" actId="14100"/>
          <ac:spMkLst>
            <pc:docMk/>
            <pc:sldMk cId="82429981" sldId="2147473824"/>
            <ac:spMk id="3" creationId="{9363D8CF-2C85-3BF9-B7BB-9B85B15F2F06}"/>
          </ac:spMkLst>
        </pc:spChg>
        <pc:graphicFrameChg chg="mod modGraphic">
          <ac:chgData name="Tường SKHĐT" userId="ab9568c39a88b08a" providerId="LiveId" clId="{A0A1AF5B-C8A6-4505-B2BC-7B9D5E4B6587}" dt="2023-06-12T04:40:47.991" v="1056" actId="1035"/>
          <ac:graphicFrameMkLst>
            <pc:docMk/>
            <pc:sldMk cId="82429981" sldId="2147473824"/>
            <ac:graphicFrameMk id="4" creationId="{00000000-0000-0000-0000-000000000000}"/>
          </ac:graphicFrameMkLst>
        </pc:graphicFrameChg>
      </pc:sldChg>
      <pc:sldChg chg="modSp mod">
        <pc:chgData name="Tường SKHĐT" userId="ab9568c39a88b08a" providerId="LiveId" clId="{A0A1AF5B-C8A6-4505-B2BC-7B9D5E4B6587}" dt="2023-06-12T04:38:37.113" v="1025" actId="1076"/>
        <pc:sldMkLst>
          <pc:docMk/>
          <pc:sldMk cId="3237175372" sldId="2147473825"/>
        </pc:sldMkLst>
        <pc:spChg chg="mod">
          <ac:chgData name="Tường SKHĐT" userId="ab9568c39a88b08a" providerId="LiveId" clId="{A0A1AF5B-C8A6-4505-B2BC-7B9D5E4B6587}" dt="2023-06-12T04:38:37.113" v="1025" actId="1076"/>
          <ac:spMkLst>
            <pc:docMk/>
            <pc:sldMk cId="3237175372" sldId="2147473825"/>
            <ac:spMk id="3" creationId="{9363D8CF-2C85-3BF9-B7BB-9B85B15F2F06}"/>
          </ac:spMkLst>
        </pc:spChg>
      </pc:sldChg>
      <pc:sldChg chg="modSp mod">
        <pc:chgData name="Tường SKHĐT" userId="ab9568c39a88b08a" providerId="LiveId" clId="{A0A1AF5B-C8A6-4505-B2BC-7B9D5E4B6587}" dt="2023-06-12T04:38:43.931" v="1027" actId="1076"/>
        <pc:sldMkLst>
          <pc:docMk/>
          <pc:sldMk cId="3666924150" sldId="2147473826"/>
        </pc:sldMkLst>
        <pc:spChg chg="mod">
          <ac:chgData name="Tường SKHĐT" userId="ab9568c39a88b08a" providerId="LiveId" clId="{A0A1AF5B-C8A6-4505-B2BC-7B9D5E4B6587}" dt="2023-06-12T04:38:43.931" v="1027" actId="1076"/>
          <ac:spMkLst>
            <pc:docMk/>
            <pc:sldMk cId="3666924150" sldId="2147473826"/>
            <ac:spMk id="3" creationId="{9363D8CF-2C85-3BF9-B7BB-9B85B15F2F06}"/>
          </ac:spMkLst>
        </pc:spChg>
      </pc:sldChg>
      <pc:sldChg chg="modSp mod">
        <pc:chgData name="Tường SKHĐT" userId="ab9568c39a88b08a" providerId="LiveId" clId="{A0A1AF5B-C8A6-4505-B2BC-7B9D5E4B6587}" dt="2023-06-12T04:38:49.809" v="1029" actId="1076"/>
        <pc:sldMkLst>
          <pc:docMk/>
          <pc:sldMk cId="3378507048" sldId="2147473827"/>
        </pc:sldMkLst>
        <pc:spChg chg="mod">
          <ac:chgData name="Tường SKHĐT" userId="ab9568c39a88b08a" providerId="LiveId" clId="{A0A1AF5B-C8A6-4505-B2BC-7B9D5E4B6587}" dt="2023-06-12T04:38:49.809" v="1029" actId="1076"/>
          <ac:spMkLst>
            <pc:docMk/>
            <pc:sldMk cId="3378507048" sldId="2147473827"/>
            <ac:spMk id="3" creationId="{9363D8CF-2C85-3BF9-B7BB-9B85B15F2F06}"/>
          </ac:spMkLst>
        </pc:spChg>
      </pc:sldChg>
      <pc:sldChg chg="modSp mod">
        <pc:chgData name="Tường SKHĐT" userId="ab9568c39a88b08a" providerId="LiveId" clId="{A0A1AF5B-C8A6-4505-B2BC-7B9D5E4B6587}" dt="2023-06-12T04:38:56.543" v="1032" actId="1036"/>
        <pc:sldMkLst>
          <pc:docMk/>
          <pc:sldMk cId="1987475464" sldId="2147473828"/>
        </pc:sldMkLst>
        <pc:spChg chg="mod">
          <ac:chgData name="Tường SKHĐT" userId="ab9568c39a88b08a" providerId="LiveId" clId="{A0A1AF5B-C8A6-4505-B2BC-7B9D5E4B6587}" dt="2023-06-12T04:38:56.543" v="1032" actId="1036"/>
          <ac:spMkLst>
            <pc:docMk/>
            <pc:sldMk cId="1987475464" sldId="2147473828"/>
            <ac:spMk id="3" creationId="{9363D8CF-2C85-3BF9-B7BB-9B85B15F2F06}"/>
          </ac:spMkLst>
        </pc:spChg>
      </pc:sldChg>
      <pc:sldChg chg="modSp mod">
        <pc:chgData name="Tường SKHĐT" userId="ab9568c39a88b08a" providerId="LiveId" clId="{A0A1AF5B-C8A6-4505-B2BC-7B9D5E4B6587}" dt="2023-06-12T04:39:02.991" v="1034" actId="1076"/>
        <pc:sldMkLst>
          <pc:docMk/>
          <pc:sldMk cId="2259173848" sldId="2147473829"/>
        </pc:sldMkLst>
        <pc:spChg chg="mod">
          <ac:chgData name="Tường SKHĐT" userId="ab9568c39a88b08a" providerId="LiveId" clId="{A0A1AF5B-C8A6-4505-B2BC-7B9D5E4B6587}" dt="2023-06-12T04:39:02.991" v="1034" actId="1076"/>
          <ac:spMkLst>
            <pc:docMk/>
            <pc:sldMk cId="2259173848" sldId="2147473829"/>
            <ac:spMk id="3" creationId="{9363D8CF-2C85-3BF9-B7BB-9B85B15F2F06}"/>
          </ac:spMkLst>
        </pc:spChg>
      </pc:sldChg>
      <pc:sldChg chg="modSp mod">
        <pc:chgData name="Tường SKHĐT" userId="ab9568c39a88b08a" providerId="LiveId" clId="{A0A1AF5B-C8A6-4505-B2BC-7B9D5E4B6587}" dt="2023-06-12T04:39:11.497" v="1036" actId="1076"/>
        <pc:sldMkLst>
          <pc:docMk/>
          <pc:sldMk cId="1422668918" sldId="2147473830"/>
        </pc:sldMkLst>
        <pc:spChg chg="mod">
          <ac:chgData name="Tường SKHĐT" userId="ab9568c39a88b08a" providerId="LiveId" clId="{A0A1AF5B-C8A6-4505-B2BC-7B9D5E4B6587}" dt="2023-06-12T04:39:11.497" v="1036" actId="1076"/>
          <ac:spMkLst>
            <pc:docMk/>
            <pc:sldMk cId="1422668918" sldId="2147473830"/>
            <ac:spMk id="5" creationId="{9CBC7A17-9F40-F9E2-3D14-0D173740B2FD}"/>
          </ac:spMkLst>
        </pc:spChg>
      </pc:sldChg>
      <pc:sldChg chg="modSp mod">
        <pc:chgData name="Tường SKHĐT" userId="ab9568c39a88b08a" providerId="LiveId" clId="{A0A1AF5B-C8A6-4505-B2BC-7B9D5E4B6587}" dt="2023-06-12T04:39:18.895" v="1038" actId="1076"/>
        <pc:sldMkLst>
          <pc:docMk/>
          <pc:sldMk cId="2950065476" sldId="2147473831"/>
        </pc:sldMkLst>
        <pc:spChg chg="mod">
          <ac:chgData name="Tường SKHĐT" userId="ab9568c39a88b08a" providerId="LiveId" clId="{A0A1AF5B-C8A6-4505-B2BC-7B9D5E4B6587}" dt="2023-06-12T04:39:18.895" v="1038" actId="1076"/>
          <ac:spMkLst>
            <pc:docMk/>
            <pc:sldMk cId="2950065476" sldId="2147473831"/>
            <ac:spMk id="5" creationId="{9CBC7A17-9F40-F9E2-3D14-0D173740B2FD}"/>
          </ac:spMkLst>
        </pc:spChg>
      </pc:sldChg>
      <pc:sldChg chg="modSp mod">
        <pc:chgData name="Tường SKHĐT" userId="ab9568c39a88b08a" providerId="LiveId" clId="{A0A1AF5B-C8A6-4505-B2BC-7B9D5E4B6587}" dt="2023-06-12T04:39:27.205" v="1040" actId="1076"/>
        <pc:sldMkLst>
          <pc:docMk/>
          <pc:sldMk cId="2241968007" sldId="2147473832"/>
        </pc:sldMkLst>
        <pc:spChg chg="mod">
          <ac:chgData name="Tường SKHĐT" userId="ab9568c39a88b08a" providerId="LiveId" clId="{A0A1AF5B-C8A6-4505-B2BC-7B9D5E4B6587}" dt="2023-06-12T04:39:27.205" v="1040" actId="1076"/>
          <ac:spMkLst>
            <pc:docMk/>
            <pc:sldMk cId="2241968007" sldId="2147473832"/>
            <ac:spMk id="5" creationId="{9CBC7A17-9F40-F9E2-3D14-0D173740B2FD}"/>
          </ac:spMkLst>
        </pc:spChg>
      </pc:sldChg>
      <pc:sldChg chg="del">
        <pc:chgData name="Tường SKHĐT" userId="ab9568c39a88b08a" providerId="LiveId" clId="{A0A1AF5B-C8A6-4505-B2BC-7B9D5E4B6587}" dt="2023-06-12T05:02:57.470" v="1957" actId="2696"/>
        <pc:sldMkLst>
          <pc:docMk/>
          <pc:sldMk cId="2334035086" sldId="2147473833"/>
        </pc:sldMkLst>
      </pc:sldChg>
      <pc:sldChg chg="del">
        <pc:chgData name="Tường SKHĐT" userId="ab9568c39a88b08a" providerId="LiveId" clId="{A0A1AF5B-C8A6-4505-B2BC-7B9D5E4B6587}" dt="2023-06-12T05:01:13.628" v="1952" actId="2696"/>
        <pc:sldMkLst>
          <pc:docMk/>
          <pc:sldMk cId="2211954795" sldId="2147473834"/>
        </pc:sldMkLst>
      </pc:sldChg>
      <pc:sldChg chg="del">
        <pc:chgData name="Tường SKHĐT" userId="ab9568c39a88b08a" providerId="LiveId" clId="{A0A1AF5B-C8A6-4505-B2BC-7B9D5E4B6587}" dt="2023-06-12T05:01:06.166" v="1951" actId="2696"/>
        <pc:sldMkLst>
          <pc:docMk/>
          <pc:sldMk cId="659536973" sldId="2147473835"/>
        </pc:sldMkLst>
      </pc:sldChg>
      <pc:sldChg chg="del">
        <pc:chgData name="Tường SKHĐT" userId="ab9568c39a88b08a" providerId="LiveId" clId="{A0A1AF5B-C8A6-4505-B2BC-7B9D5E4B6587}" dt="2023-06-12T05:03:21.775" v="1959" actId="2696"/>
        <pc:sldMkLst>
          <pc:docMk/>
          <pc:sldMk cId="410634667" sldId="2147473836"/>
        </pc:sldMkLst>
      </pc:sldChg>
      <pc:sldChg chg="addSp delSp modSp mod">
        <pc:chgData name="Tường SKHĐT" userId="ab9568c39a88b08a" providerId="LiveId" clId="{A0A1AF5B-C8A6-4505-B2BC-7B9D5E4B6587}" dt="2023-06-12T05:50:19.653" v="4667" actId="20577"/>
        <pc:sldMkLst>
          <pc:docMk/>
          <pc:sldMk cId="238100601" sldId="2147473837"/>
        </pc:sldMkLst>
        <pc:spChg chg="add mod">
          <ac:chgData name="Tường SKHĐT" userId="ab9568c39a88b08a" providerId="LiveId" clId="{A0A1AF5B-C8A6-4505-B2BC-7B9D5E4B6587}" dt="2023-06-12T05:10:36.076" v="2352" actId="20577"/>
          <ac:spMkLst>
            <pc:docMk/>
            <pc:sldMk cId="238100601" sldId="2147473837"/>
            <ac:spMk id="2" creationId="{34358AFD-CA30-69B4-CBC4-1549EB01D84B}"/>
          </ac:spMkLst>
        </pc:spChg>
        <pc:spChg chg="del mod">
          <ac:chgData name="Tường SKHĐT" userId="ab9568c39a88b08a" providerId="LiveId" clId="{A0A1AF5B-C8A6-4505-B2BC-7B9D5E4B6587}" dt="2023-06-12T05:09:30.074" v="2262" actId="21"/>
          <ac:spMkLst>
            <pc:docMk/>
            <pc:sldMk cId="238100601" sldId="2147473837"/>
            <ac:spMk id="7" creationId="{6CE3C172-6B73-81D2-B734-810C1C811D2E}"/>
          </ac:spMkLst>
        </pc:spChg>
        <pc:graphicFrameChg chg="mod modGraphic">
          <ac:chgData name="Tường SKHĐT" userId="ab9568c39a88b08a" providerId="LiveId" clId="{A0A1AF5B-C8A6-4505-B2BC-7B9D5E4B6587}" dt="2023-06-12T05:50:19.653" v="4667" actId="20577"/>
          <ac:graphicFrameMkLst>
            <pc:docMk/>
            <pc:sldMk cId="238100601" sldId="2147473837"/>
            <ac:graphicFrameMk id="8" creationId="{B5E5335D-2EED-82AF-3A59-FAE8BB94EAE1}"/>
          </ac:graphicFrameMkLst>
        </pc:graphicFrameChg>
        <pc:picChg chg="del">
          <ac:chgData name="Tường SKHĐT" userId="ab9568c39a88b08a" providerId="LiveId" clId="{A0A1AF5B-C8A6-4505-B2BC-7B9D5E4B6587}" dt="2023-06-12T05:08:53.793" v="2145" actId="21"/>
          <ac:picMkLst>
            <pc:docMk/>
            <pc:sldMk cId="238100601" sldId="2147473837"/>
            <ac:picMk id="4" creationId="{5045E7A8-8A58-D06A-A74A-C57274D706D5}"/>
          </ac:picMkLst>
        </pc:picChg>
        <pc:picChg chg="del">
          <ac:chgData name="Tường SKHĐT" userId="ab9568c39a88b08a" providerId="LiveId" clId="{A0A1AF5B-C8A6-4505-B2BC-7B9D5E4B6587}" dt="2023-06-12T05:08:51.768" v="2144" actId="21"/>
          <ac:picMkLst>
            <pc:docMk/>
            <pc:sldMk cId="238100601" sldId="2147473837"/>
            <ac:picMk id="9" creationId="{CDC37B83-E538-7BDA-9A1E-E09DCFF78A2D}"/>
          </ac:picMkLst>
        </pc:picChg>
      </pc:sldChg>
      <pc:sldChg chg="addSp delSp modSp add mod">
        <pc:chgData name="Tường SKHĐT" userId="ab9568c39a88b08a" providerId="LiveId" clId="{A0A1AF5B-C8A6-4505-B2BC-7B9D5E4B6587}" dt="2023-06-12T04:09:24.647" v="474" actId="1076"/>
        <pc:sldMkLst>
          <pc:docMk/>
          <pc:sldMk cId="1957643202" sldId="2147473838"/>
        </pc:sldMkLst>
        <pc:graphicFrameChg chg="del">
          <ac:chgData name="Tường SKHĐT" userId="ab9568c39a88b08a" providerId="LiveId" clId="{A0A1AF5B-C8A6-4505-B2BC-7B9D5E4B6587}" dt="2023-06-12T04:08:21.441" v="470" actId="21"/>
          <ac:graphicFrameMkLst>
            <pc:docMk/>
            <pc:sldMk cId="1957643202" sldId="2147473838"/>
            <ac:graphicFrameMk id="2" creationId="{B201EF2D-75E3-E0B8-AAC8-39EE3D1AD94A}"/>
          </ac:graphicFrameMkLst>
        </pc:graphicFrameChg>
        <pc:graphicFrameChg chg="add del mod">
          <ac:chgData name="Tường SKHĐT" userId="ab9568c39a88b08a" providerId="LiveId" clId="{A0A1AF5B-C8A6-4505-B2BC-7B9D5E4B6587}" dt="2023-06-12T04:09:02.826" v="473" actId="21"/>
          <ac:graphicFrameMkLst>
            <pc:docMk/>
            <pc:sldMk cId="1957643202" sldId="2147473838"/>
            <ac:graphicFrameMk id="6" creationId="{FBDCEFAF-F452-9D4C-50A8-CA0F6B86898F}"/>
          </ac:graphicFrameMkLst>
        </pc:graphicFrameChg>
        <pc:graphicFrameChg chg="mod">
          <ac:chgData name="Tường SKHĐT" userId="ab9568c39a88b08a" providerId="LiveId" clId="{A0A1AF5B-C8A6-4505-B2BC-7B9D5E4B6587}" dt="2023-06-12T04:09:24.647" v="474" actId="1076"/>
          <ac:graphicFrameMkLst>
            <pc:docMk/>
            <pc:sldMk cId="1957643202" sldId="2147473838"/>
            <ac:graphicFrameMk id="7" creationId="{65ED0CA7-264C-1318-BA20-73CF6FF0B39F}"/>
          </ac:graphicFrameMkLst>
        </pc:graphicFrameChg>
      </pc:sldChg>
      <pc:sldChg chg="addSp delSp modSp add mod">
        <pc:chgData name="Tường SKHĐT" userId="ab9568c39a88b08a" providerId="LiveId" clId="{A0A1AF5B-C8A6-4505-B2BC-7B9D5E4B6587}" dt="2023-06-12T05:15:56.547" v="2635" actId="1076"/>
        <pc:sldMkLst>
          <pc:docMk/>
          <pc:sldMk cId="3752301376" sldId="2147473839"/>
        </pc:sldMkLst>
        <pc:spChg chg="del">
          <ac:chgData name="Tường SKHĐT" userId="ab9568c39a88b08a" providerId="LiveId" clId="{A0A1AF5B-C8A6-4505-B2BC-7B9D5E4B6587}" dt="2023-06-12T04:09:47.795" v="478" actId="21"/>
          <ac:spMkLst>
            <pc:docMk/>
            <pc:sldMk cId="3752301376" sldId="2147473839"/>
            <ac:spMk id="3" creationId="{41F7B89A-950B-BCEA-7B34-24C31F06EEAE}"/>
          </ac:spMkLst>
        </pc:spChg>
        <pc:spChg chg="del">
          <ac:chgData name="Tường SKHĐT" userId="ab9568c39a88b08a" providerId="LiveId" clId="{A0A1AF5B-C8A6-4505-B2BC-7B9D5E4B6587}" dt="2023-06-12T04:09:45.644" v="477" actId="21"/>
          <ac:spMkLst>
            <pc:docMk/>
            <pc:sldMk cId="3752301376" sldId="2147473839"/>
            <ac:spMk id="4" creationId="{F2F47907-BFA6-9C9C-7410-0773243570E0}"/>
          </ac:spMkLst>
        </pc:spChg>
        <pc:spChg chg="mod">
          <ac:chgData name="Tường SKHĐT" userId="ab9568c39a88b08a" providerId="LiveId" clId="{A0A1AF5B-C8A6-4505-B2BC-7B9D5E4B6587}" dt="2023-06-12T04:09:56.762" v="487" actId="14100"/>
          <ac:spMkLst>
            <pc:docMk/>
            <pc:sldMk cId="3752301376" sldId="2147473839"/>
            <ac:spMk id="5" creationId="{85B0C6AB-4906-5932-12D4-5FAF7DC72C97}"/>
          </ac:spMkLst>
        </pc:spChg>
        <pc:graphicFrameChg chg="add del mod">
          <ac:chgData name="Tường SKHĐT" userId="ab9568c39a88b08a" providerId="LiveId" clId="{A0A1AF5B-C8A6-4505-B2BC-7B9D5E4B6587}" dt="2023-06-12T04:16:37.696" v="496" actId="21"/>
          <ac:graphicFrameMkLst>
            <pc:docMk/>
            <pc:sldMk cId="3752301376" sldId="2147473839"/>
            <ac:graphicFrameMk id="2" creationId="{C62D83C6-D01B-3A81-71E9-11F32E9A2436}"/>
          </ac:graphicFrameMkLst>
        </pc:graphicFrameChg>
        <pc:graphicFrameChg chg="del mod">
          <ac:chgData name="Tường SKHĐT" userId="ab9568c39a88b08a" providerId="LiveId" clId="{A0A1AF5B-C8A6-4505-B2BC-7B9D5E4B6587}" dt="2023-06-12T04:25:42.297" v="499" actId="21"/>
          <ac:graphicFrameMkLst>
            <pc:docMk/>
            <pc:sldMk cId="3752301376" sldId="2147473839"/>
            <ac:graphicFrameMk id="6" creationId="{A822073D-0E0A-4EAC-B357-5495BCC97593}"/>
          </ac:graphicFrameMkLst>
        </pc:graphicFrameChg>
        <pc:graphicFrameChg chg="del">
          <ac:chgData name="Tường SKHĐT" userId="ab9568c39a88b08a" providerId="LiveId" clId="{A0A1AF5B-C8A6-4505-B2BC-7B9D5E4B6587}" dt="2023-06-12T04:09:58.161" v="488" actId="21"/>
          <ac:graphicFrameMkLst>
            <pc:docMk/>
            <pc:sldMk cId="3752301376" sldId="2147473839"/>
            <ac:graphicFrameMk id="7" creationId="{65ED0CA7-264C-1318-BA20-73CF6FF0B39F}"/>
          </ac:graphicFrameMkLst>
        </pc:graphicFrameChg>
        <pc:graphicFrameChg chg="del mod">
          <ac:chgData name="Tường SKHĐT" userId="ab9568c39a88b08a" providerId="LiveId" clId="{A0A1AF5B-C8A6-4505-B2BC-7B9D5E4B6587}" dt="2023-06-12T05:15:47.132" v="2634" actId="21"/>
          <ac:graphicFrameMkLst>
            <pc:docMk/>
            <pc:sldMk cId="3752301376" sldId="2147473839"/>
            <ac:graphicFrameMk id="9" creationId="{2F9C6FA6-A516-1F70-1D36-D4002BC85003}"/>
          </ac:graphicFrameMkLst>
        </pc:graphicFrameChg>
        <pc:graphicFrameChg chg="mod">
          <ac:chgData name="Tường SKHĐT" userId="ab9568c39a88b08a" providerId="LiveId" clId="{A0A1AF5B-C8A6-4505-B2BC-7B9D5E4B6587}" dt="2023-06-12T05:15:56.547" v="2635" actId="1076"/>
          <ac:graphicFrameMkLst>
            <pc:docMk/>
            <pc:sldMk cId="3752301376" sldId="2147473839"/>
            <ac:graphicFrameMk id="10" creationId="{78AE96A3-F446-AF0B-29D6-B0D7C99FFBCC}"/>
          </ac:graphicFrameMkLst>
        </pc:graphicFrameChg>
      </pc:sldChg>
      <pc:sldChg chg="addSp delSp modSp add del mod">
        <pc:chgData name="Tường SKHĐT" userId="ab9568c39a88b08a" providerId="LiveId" clId="{A0A1AF5B-C8A6-4505-B2BC-7B9D5E4B6587}" dt="2023-06-12T07:08:07.674" v="4670" actId="2696"/>
        <pc:sldMkLst>
          <pc:docMk/>
          <pc:sldMk cId="6835708" sldId="2147473840"/>
        </pc:sldMkLst>
        <pc:spChg chg="mod">
          <ac:chgData name="Tường SKHĐT" userId="ab9568c39a88b08a" providerId="LiveId" clId="{A0A1AF5B-C8A6-4505-B2BC-7B9D5E4B6587}" dt="2023-06-12T04:28:38.071" v="503" actId="1076"/>
          <ac:spMkLst>
            <pc:docMk/>
            <pc:sldMk cId="6835708" sldId="2147473840"/>
            <ac:spMk id="5" creationId="{85B0C6AB-4906-5932-12D4-5FAF7DC72C97}"/>
          </ac:spMkLst>
        </pc:spChg>
        <pc:graphicFrameChg chg="add del mod">
          <ac:chgData name="Tường SKHĐT" userId="ab9568c39a88b08a" providerId="LiveId" clId="{A0A1AF5B-C8A6-4505-B2BC-7B9D5E4B6587}" dt="2023-06-12T05:30:27.561" v="2849" actId="21"/>
          <ac:graphicFrameMkLst>
            <pc:docMk/>
            <pc:sldMk cId="6835708" sldId="2147473840"/>
            <ac:graphicFrameMk id="2" creationId="{3406491E-8319-C770-DD5F-2CF38C7063BC}"/>
          </ac:graphicFrameMkLst>
        </pc:graphicFrameChg>
        <pc:graphicFrameChg chg="mod">
          <ac:chgData name="Tường SKHĐT" userId="ab9568c39a88b08a" providerId="LiveId" clId="{A0A1AF5B-C8A6-4505-B2BC-7B9D5E4B6587}" dt="2023-06-12T05:30:48.469" v="2852" actId="14100"/>
          <ac:graphicFrameMkLst>
            <pc:docMk/>
            <pc:sldMk cId="6835708" sldId="2147473840"/>
            <ac:graphicFrameMk id="3" creationId="{296CCC93-7557-A3E5-D3C3-53FE7080823C}"/>
          </ac:graphicFrameMkLst>
        </pc:graphicFrameChg>
      </pc:sldChg>
      <pc:sldChg chg="add del">
        <pc:chgData name="Tường SKHĐT" userId="ab9568c39a88b08a" providerId="LiveId" clId="{A0A1AF5B-C8A6-4505-B2BC-7B9D5E4B6587}" dt="2023-06-12T04:11:04.581" v="493"/>
        <pc:sldMkLst>
          <pc:docMk/>
          <pc:sldMk cId="4126292990" sldId="2147473841"/>
        </pc:sldMkLst>
      </pc:sldChg>
      <pc:sldChg chg="addSp delSp modSp add mod">
        <pc:chgData name="Tường SKHĐT" userId="ab9568c39a88b08a" providerId="LiveId" clId="{A0A1AF5B-C8A6-4505-B2BC-7B9D5E4B6587}" dt="2023-06-12T04:59:25.274" v="1930" actId="1076"/>
        <pc:sldMkLst>
          <pc:docMk/>
          <pc:sldMk cId="3864172541" sldId="2147473851"/>
        </pc:sldMkLst>
        <pc:spChg chg="del mod">
          <ac:chgData name="Tường SKHĐT" userId="ab9568c39a88b08a" providerId="LiveId" clId="{A0A1AF5B-C8A6-4505-B2BC-7B9D5E4B6587}" dt="2023-06-12T04:59:18.594" v="1928" actId="21"/>
          <ac:spMkLst>
            <pc:docMk/>
            <pc:sldMk cId="3864172541" sldId="2147473851"/>
            <ac:spMk id="2" creationId="{CE3C4475-C923-0AF0-986A-FED6029C2780}"/>
          </ac:spMkLst>
        </pc:spChg>
        <pc:spChg chg="add del mod">
          <ac:chgData name="Tường SKHĐT" userId="ab9568c39a88b08a" providerId="LiveId" clId="{A0A1AF5B-C8A6-4505-B2BC-7B9D5E4B6587}" dt="2023-06-12T04:59:14.485" v="1927" actId="21"/>
          <ac:spMkLst>
            <pc:docMk/>
            <pc:sldMk cId="3864172541" sldId="2147473851"/>
            <ac:spMk id="4" creationId="{64CB236D-9BC2-9A32-B00C-9747EA53D31F}"/>
          </ac:spMkLst>
        </pc:spChg>
        <pc:spChg chg="mod">
          <ac:chgData name="Tường SKHĐT" userId="ab9568c39a88b08a" providerId="LiveId" clId="{A0A1AF5B-C8A6-4505-B2BC-7B9D5E4B6587}" dt="2023-06-12T04:59:21.852" v="1929" actId="1076"/>
          <ac:spMkLst>
            <pc:docMk/>
            <pc:sldMk cId="3864172541" sldId="2147473851"/>
            <ac:spMk id="7" creationId="{C04F4D96-45AD-953D-5897-218BC956CD36}"/>
          </ac:spMkLst>
        </pc:spChg>
        <pc:graphicFrameChg chg="mod">
          <ac:chgData name="Tường SKHĐT" userId="ab9568c39a88b08a" providerId="LiveId" clId="{A0A1AF5B-C8A6-4505-B2BC-7B9D5E4B6587}" dt="2023-06-12T04:59:25.274" v="1930" actId="1076"/>
          <ac:graphicFrameMkLst>
            <pc:docMk/>
            <pc:sldMk cId="3864172541" sldId="2147473851"/>
            <ac:graphicFrameMk id="8" creationId="{B5E5335D-2EED-82AF-3A59-FAE8BB94EAE1}"/>
          </ac:graphicFrameMkLst>
        </pc:graphicFrameChg>
        <pc:picChg chg="mod">
          <ac:chgData name="Tường SKHĐT" userId="ab9568c39a88b08a" providerId="LiveId" clId="{A0A1AF5B-C8A6-4505-B2BC-7B9D5E4B6587}" dt="2023-06-12T04:54:29.068" v="1834" actId="1076"/>
          <ac:picMkLst>
            <pc:docMk/>
            <pc:sldMk cId="3864172541" sldId="2147473851"/>
            <ac:picMk id="3" creationId="{0B7CA021-09F3-1F33-484C-C8E22C0125A5}"/>
          </ac:picMkLst>
        </pc:picChg>
      </pc:sldChg>
      <pc:sldChg chg="addSp delSp modSp add mod">
        <pc:chgData name="Tường SKHĐT" userId="ab9568c39a88b08a" providerId="LiveId" clId="{A0A1AF5B-C8A6-4505-B2BC-7B9D5E4B6587}" dt="2023-06-12T05:32:31.484" v="2882" actId="1076"/>
        <pc:sldMkLst>
          <pc:docMk/>
          <pc:sldMk cId="2159545141" sldId="2147473852"/>
        </pc:sldMkLst>
        <pc:spChg chg="add mod">
          <ac:chgData name="Tường SKHĐT" userId="ab9568c39a88b08a" providerId="LiveId" clId="{A0A1AF5B-C8A6-4505-B2BC-7B9D5E4B6587}" dt="2023-06-12T05:32:31.484" v="2882" actId="1076"/>
          <ac:spMkLst>
            <pc:docMk/>
            <pc:sldMk cId="2159545141" sldId="2147473852"/>
            <ac:spMk id="2" creationId="{8CB6B711-2AB0-F2FE-B8B8-E6D6581A7BE7}"/>
          </ac:spMkLst>
        </pc:spChg>
        <pc:spChg chg="del">
          <ac:chgData name="Tường SKHĐT" userId="ab9568c39a88b08a" providerId="LiveId" clId="{A0A1AF5B-C8A6-4505-B2BC-7B9D5E4B6587}" dt="2023-06-12T05:00:07.351" v="1946" actId="21"/>
          <ac:spMkLst>
            <pc:docMk/>
            <pc:sldMk cId="2159545141" sldId="2147473852"/>
            <ac:spMk id="4" creationId="{46B6E1F4-F206-B042-DDA5-71C9CBE1810E}"/>
          </ac:spMkLst>
        </pc:spChg>
        <pc:graphicFrameChg chg="mod modGraphic">
          <ac:chgData name="Tường SKHĐT" userId="ab9568c39a88b08a" providerId="LiveId" clId="{A0A1AF5B-C8A6-4505-B2BC-7B9D5E4B6587}" dt="2023-06-12T05:32:27.940" v="2881" actId="20577"/>
          <ac:graphicFrameMkLst>
            <pc:docMk/>
            <pc:sldMk cId="2159545141" sldId="2147473852"/>
            <ac:graphicFrameMk id="3" creationId="{1243D2EC-FD70-31EF-486E-0289B57D5A19}"/>
          </ac:graphicFrameMkLst>
        </pc:graphicFrameChg>
      </pc:sldChg>
      <pc:sldChg chg="addSp delSp modSp add mod">
        <pc:chgData name="Tường SKHĐT" userId="ab9568c39a88b08a" providerId="LiveId" clId="{A0A1AF5B-C8A6-4505-B2BC-7B9D5E4B6587}" dt="2023-06-12T04:58:35.490" v="1917" actId="14100"/>
        <pc:sldMkLst>
          <pc:docMk/>
          <pc:sldMk cId="1297180345" sldId="2147473853"/>
        </pc:sldMkLst>
        <pc:spChg chg="mod">
          <ac:chgData name="Tường SKHĐT" userId="ab9568c39a88b08a" providerId="LiveId" clId="{A0A1AF5B-C8A6-4505-B2BC-7B9D5E4B6587}" dt="2023-06-12T04:55:58.626" v="1907" actId="1076"/>
          <ac:spMkLst>
            <pc:docMk/>
            <pc:sldMk cId="1297180345" sldId="2147473853"/>
            <ac:spMk id="3" creationId="{9EEAB35B-95EE-9E95-CA06-D08BE6065423}"/>
          </ac:spMkLst>
        </pc:spChg>
        <pc:graphicFrameChg chg="del">
          <ac:chgData name="Tường SKHĐT" userId="ab9568c39a88b08a" providerId="LiveId" clId="{A0A1AF5B-C8A6-4505-B2BC-7B9D5E4B6587}" dt="2023-06-12T04:58:27.933" v="1913" actId="21"/>
          <ac:graphicFrameMkLst>
            <pc:docMk/>
            <pc:sldMk cId="1297180345" sldId="2147473853"/>
            <ac:graphicFrameMk id="2" creationId="{BCE5C303-D171-1C6C-BB48-0A21E49A6976}"/>
          </ac:graphicFrameMkLst>
        </pc:graphicFrameChg>
        <pc:graphicFrameChg chg="add mod">
          <ac:chgData name="Tường SKHĐT" userId="ab9568c39a88b08a" providerId="LiveId" clId="{A0A1AF5B-C8A6-4505-B2BC-7B9D5E4B6587}" dt="2023-06-12T04:58:35.490" v="1917" actId="14100"/>
          <ac:graphicFrameMkLst>
            <pc:docMk/>
            <pc:sldMk cId="1297180345" sldId="2147473853"/>
            <ac:graphicFrameMk id="5" creationId="{6D779EB1-37D9-23C5-2512-84466D09452B}"/>
          </ac:graphicFrameMkLst>
        </pc:graphicFrameChg>
      </pc:sldChg>
      <pc:sldChg chg="add">
        <pc:chgData name="Tường SKHĐT" userId="ab9568c39a88b08a" providerId="LiveId" clId="{A0A1AF5B-C8A6-4505-B2BC-7B9D5E4B6587}" dt="2023-06-12T04:25:22.949" v="498"/>
        <pc:sldMkLst>
          <pc:docMk/>
          <pc:sldMk cId="595962106" sldId="2147473854"/>
        </pc:sldMkLst>
      </pc:sldChg>
      <pc:sldChg chg="addSp delSp modSp add mod">
        <pc:chgData name="Tường SKHĐT" userId="ab9568c39a88b08a" providerId="LiveId" clId="{A0A1AF5B-C8A6-4505-B2BC-7B9D5E4B6587}" dt="2023-06-12T04:40:17.027" v="1054" actId="1076"/>
        <pc:sldMkLst>
          <pc:docMk/>
          <pc:sldMk cId="1061291802" sldId="2147473855"/>
        </pc:sldMkLst>
        <pc:spChg chg="add mod">
          <ac:chgData name="Tường SKHĐT" userId="ab9568c39a88b08a" providerId="LiveId" clId="{A0A1AF5B-C8A6-4505-B2BC-7B9D5E4B6587}" dt="2023-06-12T04:40:13.841" v="1052" actId="1076"/>
          <ac:spMkLst>
            <pc:docMk/>
            <pc:sldMk cId="1061291802" sldId="2147473855"/>
            <ac:spMk id="2" creationId="{9CC5DA20-2217-BBB5-ABE1-A4802EFDECC4}"/>
          </ac:spMkLst>
        </pc:spChg>
        <pc:spChg chg="del">
          <ac:chgData name="Tường SKHĐT" userId="ab9568c39a88b08a" providerId="LiveId" clId="{A0A1AF5B-C8A6-4505-B2BC-7B9D5E4B6587}" dt="2023-06-12T04:34:54.141" v="780" actId="21"/>
          <ac:spMkLst>
            <pc:docMk/>
            <pc:sldMk cId="1061291802" sldId="2147473855"/>
            <ac:spMk id="3" creationId="{41F7B89A-950B-BCEA-7B34-24C31F06EEAE}"/>
          </ac:spMkLst>
        </pc:spChg>
        <pc:spChg chg="mod">
          <ac:chgData name="Tường SKHĐT" userId="ab9568c39a88b08a" providerId="LiveId" clId="{A0A1AF5B-C8A6-4505-B2BC-7B9D5E4B6587}" dt="2023-06-12T04:39:47.239" v="1043" actId="404"/>
          <ac:spMkLst>
            <pc:docMk/>
            <pc:sldMk cId="1061291802" sldId="2147473855"/>
            <ac:spMk id="4" creationId="{F2F47907-BFA6-9C9C-7410-0773243570E0}"/>
          </ac:spMkLst>
        </pc:spChg>
        <pc:spChg chg="del">
          <ac:chgData name="Tường SKHĐT" userId="ab9568c39a88b08a" providerId="LiveId" clId="{A0A1AF5B-C8A6-4505-B2BC-7B9D5E4B6587}" dt="2023-06-12T04:34:56.159" v="781" actId="21"/>
          <ac:spMkLst>
            <pc:docMk/>
            <pc:sldMk cId="1061291802" sldId="2147473855"/>
            <ac:spMk id="5" creationId="{85B0C6AB-4906-5932-12D4-5FAF7DC72C97}"/>
          </ac:spMkLst>
        </pc:spChg>
        <pc:spChg chg="add del mod">
          <ac:chgData name="Tường SKHĐT" userId="ab9568c39a88b08a" providerId="LiveId" clId="{A0A1AF5B-C8A6-4505-B2BC-7B9D5E4B6587}" dt="2023-06-12T04:36:10.734" v="1002" actId="21"/>
          <ac:spMkLst>
            <pc:docMk/>
            <pc:sldMk cId="1061291802" sldId="2147473855"/>
            <ac:spMk id="6" creationId="{EA880748-6481-FBF2-EE54-41368323559F}"/>
          </ac:spMkLst>
        </pc:spChg>
        <pc:spChg chg="add mod">
          <ac:chgData name="Tường SKHĐT" userId="ab9568c39a88b08a" providerId="LiveId" clId="{A0A1AF5B-C8A6-4505-B2BC-7B9D5E4B6587}" dt="2023-06-12T04:40:11.729" v="1051" actId="1076"/>
          <ac:spMkLst>
            <pc:docMk/>
            <pc:sldMk cId="1061291802" sldId="2147473855"/>
            <ac:spMk id="9" creationId="{40C78561-6569-FD6F-70AA-562A2ACA1844}"/>
          </ac:spMkLst>
        </pc:spChg>
        <pc:graphicFrameChg chg="del">
          <ac:chgData name="Tường SKHĐT" userId="ab9568c39a88b08a" providerId="LiveId" clId="{A0A1AF5B-C8A6-4505-B2BC-7B9D5E4B6587}" dt="2023-06-12T04:36:59.229" v="1007" actId="21"/>
          <ac:graphicFrameMkLst>
            <pc:docMk/>
            <pc:sldMk cId="1061291802" sldId="2147473855"/>
            <ac:graphicFrameMk id="7" creationId="{65ED0CA7-264C-1318-BA20-73CF6FF0B39F}"/>
          </ac:graphicFrameMkLst>
        </pc:graphicFrameChg>
        <pc:graphicFrameChg chg="add mod modGraphic">
          <ac:chgData name="Tường SKHĐT" userId="ab9568c39a88b08a" providerId="LiveId" clId="{A0A1AF5B-C8A6-4505-B2BC-7B9D5E4B6587}" dt="2023-06-12T04:40:17.027" v="1054" actId="1076"/>
          <ac:graphicFrameMkLst>
            <pc:docMk/>
            <pc:sldMk cId="1061291802" sldId="2147473855"/>
            <ac:graphicFrameMk id="10" creationId="{49A86850-CEFC-B0CC-86EB-C8AB4B4D243D}"/>
          </ac:graphicFrameMkLst>
        </pc:graphicFrameChg>
      </pc:sldChg>
      <pc:sldChg chg="add del">
        <pc:chgData name="Tường SKHĐT" userId="ab9568c39a88b08a" providerId="LiveId" clId="{A0A1AF5B-C8A6-4505-B2BC-7B9D5E4B6587}" dt="2023-06-12T05:30:42.445" v="2850" actId="2696"/>
        <pc:sldMkLst>
          <pc:docMk/>
          <pc:sldMk cId="2867155813" sldId="2147473856"/>
        </pc:sldMkLst>
      </pc:sldChg>
      <pc:sldChg chg="delSp modSp add del mod">
        <pc:chgData name="Tường SKHĐT" userId="ab9568c39a88b08a" providerId="LiveId" clId="{A0A1AF5B-C8A6-4505-B2BC-7B9D5E4B6587}" dt="2023-06-12T05:43:01.584" v="3721" actId="2696"/>
        <pc:sldMkLst>
          <pc:docMk/>
          <pc:sldMk cId="3302579594" sldId="2147473856"/>
        </pc:sldMkLst>
        <pc:spChg chg="mod">
          <ac:chgData name="Tường SKHĐT" userId="ab9568c39a88b08a" providerId="LiveId" clId="{A0A1AF5B-C8A6-4505-B2BC-7B9D5E4B6587}" dt="2023-06-12T05:34:04.734" v="2904" actId="20577"/>
          <ac:spMkLst>
            <pc:docMk/>
            <pc:sldMk cId="3302579594" sldId="2147473856"/>
            <ac:spMk id="2" creationId="{E3F2BF9A-C482-E244-621B-6DF71CDC208B}"/>
          </ac:spMkLst>
        </pc:spChg>
        <pc:spChg chg="del">
          <ac:chgData name="Tường SKHĐT" userId="ab9568c39a88b08a" providerId="LiveId" clId="{A0A1AF5B-C8A6-4505-B2BC-7B9D5E4B6587}" dt="2023-06-12T05:33:59.247" v="2898" actId="21"/>
          <ac:spMkLst>
            <pc:docMk/>
            <pc:sldMk cId="3302579594" sldId="2147473856"/>
            <ac:spMk id="25" creationId="{01DC26C3-E6F4-C27A-8624-3A65D81B6008}"/>
          </ac:spMkLst>
        </pc:spChg>
        <pc:graphicFrameChg chg="mod modGraphic">
          <ac:chgData name="Tường SKHĐT" userId="ab9568c39a88b08a" providerId="LiveId" clId="{A0A1AF5B-C8A6-4505-B2BC-7B9D5E4B6587}" dt="2023-06-12T05:42:12.937" v="3707" actId="21"/>
          <ac:graphicFrameMkLst>
            <pc:docMk/>
            <pc:sldMk cId="3302579594" sldId="2147473856"/>
            <ac:graphicFrameMk id="8" creationId="{B5E5335D-2EED-82AF-3A59-FAE8BB94EAE1}"/>
          </ac:graphicFrameMkLst>
        </pc:graphicFrameChg>
      </pc:sldChg>
      <pc:sldChg chg="delSp add mod">
        <pc:chgData name="Tường SKHĐT" userId="ab9568c39a88b08a" providerId="LiveId" clId="{A0A1AF5B-C8A6-4505-B2BC-7B9D5E4B6587}" dt="2023-06-12T07:07:42.547" v="4669" actId="21"/>
        <pc:sldMkLst>
          <pc:docMk/>
          <pc:sldMk cId="3676880401" sldId="2147473856"/>
        </pc:sldMkLst>
        <pc:graphicFrameChg chg="del">
          <ac:chgData name="Tường SKHĐT" userId="ab9568c39a88b08a" providerId="LiveId" clId="{A0A1AF5B-C8A6-4505-B2BC-7B9D5E4B6587}" dt="2023-06-12T07:07:42.547" v="4669" actId="21"/>
          <ac:graphicFrameMkLst>
            <pc:docMk/>
            <pc:sldMk cId="3676880401" sldId="2147473856"/>
            <ac:graphicFrameMk id="3" creationId="{296CCC93-7557-A3E5-D3C3-53FE7080823C}"/>
          </ac:graphicFrameMkLst>
        </pc:graphicFrameChg>
      </pc:sldChg>
    </pc:docChg>
  </pc:docChgLst>
  <pc:docChgLst>
    <pc:chgData name="Tường SKHĐT" userId="ab9568c39a88b08a" providerId="LiveId" clId="{6633AFB9-5A1F-4E00-B171-13D11DB7E501}"/>
    <pc:docChg chg="undo custSel addSld delSld modSld">
      <pc:chgData name="Tường SKHĐT" userId="ab9568c39a88b08a" providerId="LiveId" clId="{6633AFB9-5A1F-4E00-B171-13D11DB7E501}" dt="2023-05-31T09:45:57.344" v="620" actId="14100"/>
      <pc:docMkLst>
        <pc:docMk/>
      </pc:docMkLst>
      <pc:sldChg chg="del">
        <pc:chgData name="Tường SKHĐT" userId="ab9568c39a88b08a" providerId="LiveId" clId="{6633AFB9-5A1F-4E00-B171-13D11DB7E501}" dt="2023-05-31T02:42:31.362" v="56" actId="2696"/>
        <pc:sldMkLst>
          <pc:docMk/>
          <pc:sldMk cId="3122668904" sldId="2147473596"/>
        </pc:sldMkLst>
      </pc:sldChg>
      <pc:sldChg chg="modSp add mod">
        <pc:chgData name="Tường SKHĐT" userId="ab9568c39a88b08a" providerId="LiveId" clId="{6633AFB9-5A1F-4E00-B171-13D11DB7E501}" dt="2023-05-31T03:40:21.277" v="416"/>
        <pc:sldMkLst>
          <pc:docMk/>
          <pc:sldMk cId="1686249856" sldId="2147473647"/>
        </pc:sldMkLst>
        <pc:spChg chg="mod">
          <ac:chgData name="Tường SKHĐT" userId="ab9568c39a88b08a" providerId="LiveId" clId="{6633AFB9-5A1F-4E00-B171-13D11DB7E501}" dt="2023-05-31T02:54:12.022" v="268" actId="207"/>
          <ac:spMkLst>
            <pc:docMk/>
            <pc:sldMk cId="1686249856" sldId="2147473647"/>
            <ac:spMk id="2" creationId="{FEDE0ACA-73AF-9712-028B-145C8057A697}"/>
          </ac:spMkLst>
        </pc:spChg>
        <pc:spChg chg="mod">
          <ac:chgData name="Tường SKHĐT" userId="ab9568c39a88b08a" providerId="LiveId" clId="{6633AFB9-5A1F-4E00-B171-13D11DB7E501}" dt="2023-05-31T02:43:41.085" v="140" actId="20577"/>
          <ac:spMkLst>
            <pc:docMk/>
            <pc:sldMk cId="1686249856" sldId="2147473647"/>
            <ac:spMk id="4" creationId="{5DDFB1B9-9FA7-5CF0-AB22-DCB06431AEA4}"/>
          </ac:spMkLst>
        </pc:spChg>
        <pc:spChg chg="mod">
          <ac:chgData name="Tường SKHĐT" userId="ab9568c39a88b08a" providerId="LiveId" clId="{6633AFB9-5A1F-4E00-B171-13D11DB7E501}" dt="2023-05-31T02:54:20.348" v="270" actId="207"/>
          <ac:spMkLst>
            <pc:docMk/>
            <pc:sldMk cId="1686249856" sldId="2147473647"/>
            <ac:spMk id="5" creationId="{E8A78399-F64E-FDA1-AB56-855ACF72F180}"/>
          </ac:spMkLst>
        </pc:spChg>
        <pc:spChg chg="mod">
          <ac:chgData name="Tường SKHĐT" userId="ab9568c39a88b08a" providerId="LiveId" clId="{6633AFB9-5A1F-4E00-B171-13D11DB7E501}" dt="2023-05-31T03:39:54.719" v="413" actId="1076"/>
          <ac:spMkLst>
            <pc:docMk/>
            <pc:sldMk cId="1686249856" sldId="2147473647"/>
            <ac:spMk id="6" creationId="{E4ED8AB2-A473-1A88-1EA5-ACE8071989F9}"/>
          </ac:spMkLst>
        </pc:spChg>
        <pc:spChg chg="mod">
          <ac:chgData name="Tường SKHĐT" userId="ab9568c39a88b08a" providerId="LiveId" clId="{6633AFB9-5A1F-4E00-B171-13D11DB7E501}" dt="2023-05-31T03:39:56.547" v="414" actId="1076"/>
          <ac:spMkLst>
            <pc:docMk/>
            <pc:sldMk cId="1686249856" sldId="2147473647"/>
            <ac:spMk id="7" creationId="{B575D5B7-89E0-566C-C97F-CD98CCE24441}"/>
          </ac:spMkLst>
        </pc:spChg>
        <pc:spChg chg="mod">
          <ac:chgData name="Tường SKHĐT" userId="ab9568c39a88b08a" providerId="LiveId" clId="{6633AFB9-5A1F-4E00-B171-13D11DB7E501}" dt="2023-05-31T02:44:03.165" v="192" actId="20577"/>
          <ac:spMkLst>
            <pc:docMk/>
            <pc:sldMk cId="1686249856" sldId="2147473647"/>
            <ac:spMk id="12" creationId="{8A67A444-F448-A9A5-7360-DFFFEB3A5F6E}"/>
          </ac:spMkLst>
        </pc:spChg>
        <pc:graphicFrameChg chg="mod">
          <ac:chgData name="Tường SKHĐT" userId="ab9568c39a88b08a" providerId="LiveId" clId="{6633AFB9-5A1F-4E00-B171-13D11DB7E501}" dt="2023-05-31T03:40:21.277" v="416"/>
          <ac:graphicFrameMkLst>
            <pc:docMk/>
            <pc:sldMk cId="1686249856" sldId="2147473647"/>
            <ac:graphicFrameMk id="9" creationId="{0738877F-56EF-4DEF-B5AA-1664DC8186CF}"/>
          </ac:graphicFrameMkLst>
        </pc:graphicFrameChg>
      </pc:sldChg>
      <pc:sldChg chg="add del">
        <pc:chgData name="Tường SKHĐT" userId="ab9568c39a88b08a" providerId="LiveId" clId="{6633AFB9-5A1F-4E00-B171-13D11DB7E501}" dt="2023-05-31T03:21:36.528" v="354" actId="2696"/>
        <pc:sldMkLst>
          <pc:docMk/>
          <pc:sldMk cId="812435647" sldId="2147473649"/>
        </pc:sldMkLst>
      </pc:sldChg>
      <pc:sldChg chg="add del mod">
        <pc:chgData name="Tường SKHĐT" userId="ab9568c39a88b08a" providerId="LiveId" clId="{6633AFB9-5A1F-4E00-B171-13D11DB7E501}" dt="2023-05-31T03:31:44.719" v="394" actId="2696"/>
        <pc:sldMkLst>
          <pc:docMk/>
          <pc:sldMk cId="2086378900" sldId="2147473652"/>
        </pc:sldMkLst>
      </pc:sldChg>
      <pc:sldChg chg="delSp modSp add mod">
        <pc:chgData name="Tường SKHĐT" userId="ab9568c39a88b08a" providerId="LiveId" clId="{6633AFB9-5A1F-4E00-B171-13D11DB7E501}" dt="2023-05-31T09:35:34.960" v="553" actId="20577"/>
        <pc:sldMkLst>
          <pc:docMk/>
          <pc:sldMk cId="3727718023" sldId="2147473658"/>
        </pc:sldMkLst>
        <pc:spChg chg="del">
          <ac:chgData name="Tường SKHĐT" userId="ab9568c39a88b08a" providerId="LiveId" clId="{6633AFB9-5A1F-4E00-B171-13D11DB7E501}" dt="2023-05-31T09:35:23.635" v="550" actId="21"/>
          <ac:spMkLst>
            <pc:docMk/>
            <pc:sldMk cId="3727718023" sldId="2147473658"/>
            <ac:spMk id="5" creationId="{13C6177D-64B9-5B4D-AA6B-571EB29BED77}"/>
          </ac:spMkLst>
        </pc:spChg>
        <pc:spChg chg="mod">
          <ac:chgData name="Tường SKHĐT" userId="ab9568c39a88b08a" providerId="LiveId" clId="{6633AFB9-5A1F-4E00-B171-13D11DB7E501}" dt="2023-05-31T09:35:28.174" v="551" actId="1076"/>
          <ac:spMkLst>
            <pc:docMk/>
            <pc:sldMk cId="3727718023" sldId="2147473658"/>
            <ac:spMk id="6" creationId="{AD8FCB44-5401-4810-551D-B0072A6956BA}"/>
          </ac:spMkLst>
        </pc:spChg>
        <pc:graphicFrameChg chg="mod modGraphic">
          <ac:chgData name="Tường SKHĐT" userId="ab9568c39a88b08a" providerId="LiveId" clId="{6633AFB9-5A1F-4E00-B171-13D11DB7E501}" dt="2023-05-31T09:35:34.960" v="553" actId="20577"/>
          <ac:graphicFrameMkLst>
            <pc:docMk/>
            <pc:sldMk cId="3727718023" sldId="2147473658"/>
            <ac:graphicFrameMk id="2" creationId="{3E45EC01-8919-CDD1-BF49-FD790779B8D8}"/>
          </ac:graphicFrameMkLst>
        </pc:graphicFrameChg>
      </pc:sldChg>
      <pc:sldChg chg="modSp add mod">
        <pc:chgData name="Tường SKHĐT" userId="ab9568c39a88b08a" providerId="LiveId" clId="{6633AFB9-5A1F-4E00-B171-13D11DB7E501}" dt="2023-05-31T08:30:54.027" v="514" actId="20577"/>
        <pc:sldMkLst>
          <pc:docMk/>
          <pc:sldMk cId="101557646" sldId="2147473662"/>
        </pc:sldMkLst>
        <pc:spChg chg="mod">
          <ac:chgData name="Tường SKHĐT" userId="ab9568c39a88b08a" providerId="LiveId" clId="{6633AFB9-5A1F-4E00-B171-13D11DB7E501}" dt="2023-05-31T03:10:28.771" v="317" actId="207"/>
          <ac:spMkLst>
            <pc:docMk/>
            <pc:sldMk cId="101557646" sldId="2147473662"/>
            <ac:spMk id="6" creationId="{06D03D79-0B62-8633-2463-3F508B07C798}"/>
          </ac:spMkLst>
        </pc:spChg>
        <pc:spChg chg="mod">
          <ac:chgData name="Tường SKHĐT" userId="ab9568c39a88b08a" providerId="LiveId" clId="{6633AFB9-5A1F-4E00-B171-13D11DB7E501}" dt="2023-05-31T03:10:24.305" v="316" actId="207"/>
          <ac:spMkLst>
            <pc:docMk/>
            <pc:sldMk cId="101557646" sldId="2147473662"/>
            <ac:spMk id="7" creationId="{E6639C72-69F2-1AB3-FDD1-BBD1532EF732}"/>
          </ac:spMkLst>
        </pc:spChg>
        <pc:spChg chg="mod">
          <ac:chgData name="Tường SKHĐT" userId="ab9568c39a88b08a" providerId="LiveId" clId="{6633AFB9-5A1F-4E00-B171-13D11DB7E501}" dt="2023-05-31T03:45:36.356" v="463" actId="20577"/>
          <ac:spMkLst>
            <pc:docMk/>
            <pc:sldMk cId="101557646" sldId="2147473662"/>
            <ac:spMk id="9" creationId="{55CECF2F-2963-B5C2-64D3-3DA4CDF3FDDD}"/>
          </ac:spMkLst>
        </pc:spChg>
        <pc:spChg chg="mod">
          <ac:chgData name="Tường SKHĐT" userId="ab9568c39a88b08a" providerId="LiveId" clId="{6633AFB9-5A1F-4E00-B171-13D11DB7E501}" dt="2023-05-31T08:30:54.027" v="514" actId="20577"/>
          <ac:spMkLst>
            <pc:docMk/>
            <pc:sldMk cId="101557646" sldId="2147473662"/>
            <ac:spMk id="10" creationId="{99B4B44D-D9C2-C082-591B-8A4A5C18BE6A}"/>
          </ac:spMkLst>
        </pc:spChg>
      </pc:sldChg>
      <pc:sldChg chg="modSp add mod">
        <pc:chgData name="Tường SKHĐT" userId="ab9568c39a88b08a" providerId="LiveId" clId="{6633AFB9-5A1F-4E00-B171-13D11DB7E501}" dt="2023-05-31T02:40:43.683" v="55" actId="403"/>
        <pc:sldMkLst>
          <pc:docMk/>
          <pc:sldMk cId="2878997254" sldId="2147473740"/>
        </pc:sldMkLst>
        <pc:spChg chg="mod">
          <ac:chgData name="Tường SKHĐT" userId="ab9568c39a88b08a" providerId="LiveId" clId="{6633AFB9-5A1F-4E00-B171-13D11DB7E501}" dt="2023-05-31T02:40:21.399" v="54" actId="1076"/>
          <ac:spMkLst>
            <pc:docMk/>
            <pc:sldMk cId="2878997254" sldId="2147473740"/>
            <ac:spMk id="12" creationId="{8A67A444-F448-A9A5-7360-DFFFEB3A5F6E}"/>
          </ac:spMkLst>
        </pc:spChg>
        <pc:graphicFrameChg chg="mod">
          <ac:chgData name="Tường SKHĐT" userId="ab9568c39a88b08a" providerId="LiveId" clId="{6633AFB9-5A1F-4E00-B171-13D11DB7E501}" dt="2023-05-31T02:40:43.683" v="55" actId="403"/>
          <ac:graphicFrameMkLst>
            <pc:docMk/>
            <pc:sldMk cId="2878997254" sldId="2147473740"/>
            <ac:graphicFrameMk id="9" creationId="{0738877F-56EF-4DEF-B5AA-1664DC8186CF}"/>
          </ac:graphicFrameMkLst>
        </pc:graphicFrameChg>
      </pc:sldChg>
      <pc:sldChg chg="addSp delSp modSp add mod">
        <pc:chgData name="Tường SKHĐT" userId="ab9568c39a88b08a" providerId="LiveId" clId="{6633AFB9-5A1F-4E00-B171-13D11DB7E501}" dt="2023-05-31T03:31:32.135" v="393" actId="207"/>
        <pc:sldMkLst>
          <pc:docMk/>
          <pc:sldMk cId="294938041" sldId="2147473741"/>
        </pc:sldMkLst>
        <pc:graphicFrameChg chg="del">
          <ac:chgData name="Tường SKHĐT" userId="ab9568c39a88b08a" providerId="LiveId" clId="{6633AFB9-5A1F-4E00-B171-13D11DB7E501}" dt="2023-05-31T03:17:07.108" v="319" actId="21"/>
          <ac:graphicFrameMkLst>
            <pc:docMk/>
            <pc:sldMk cId="294938041" sldId="2147473741"/>
            <ac:graphicFrameMk id="2" creationId="{94FF6E71-DFEF-870E-130E-8547AEBD7401}"/>
          </ac:graphicFrameMkLst>
        </pc:graphicFrameChg>
        <pc:graphicFrameChg chg="add mod">
          <ac:chgData name="Tường SKHĐT" userId="ab9568c39a88b08a" providerId="LiveId" clId="{6633AFB9-5A1F-4E00-B171-13D11DB7E501}" dt="2023-05-31T03:31:32.135" v="393" actId="207"/>
          <ac:graphicFrameMkLst>
            <pc:docMk/>
            <pc:sldMk cId="294938041" sldId="2147473741"/>
            <ac:graphicFrameMk id="5" creationId="{1B630313-B304-43FE-1F3A-BFDCCD81BBE4}"/>
          </ac:graphicFrameMkLst>
        </pc:graphicFrameChg>
      </pc:sldChg>
      <pc:sldChg chg="addSp delSp modSp add mod">
        <pc:chgData name="Tường SKHĐT" userId="ab9568c39a88b08a" providerId="LiveId" clId="{6633AFB9-5A1F-4E00-B171-13D11DB7E501}" dt="2023-05-31T03:32:31.063" v="401" actId="404"/>
        <pc:sldMkLst>
          <pc:docMk/>
          <pc:sldMk cId="1604113191" sldId="2147473742"/>
        </pc:sldMkLst>
        <pc:spChg chg="mod">
          <ac:chgData name="Tường SKHĐT" userId="ab9568c39a88b08a" providerId="LiveId" clId="{6633AFB9-5A1F-4E00-B171-13D11DB7E501}" dt="2023-05-31T03:30:59.005" v="388" actId="20577"/>
          <ac:spMkLst>
            <pc:docMk/>
            <pc:sldMk cId="1604113191" sldId="2147473742"/>
            <ac:spMk id="4" creationId="{5CDB4122-EC53-12DB-1589-C6E8678CCB1C}"/>
          </ac:spMkLst>
        </pc:spChg>
        <pc:graphicFrameChg chg="del">
          <ac:chgData name="Tường SKHĐT" userId="ab9568c39a88b08a" providerId="LiveId" clId="{6633AFB9-5A1F-4E00-B171-13D11DB7E501}" dt="2023-05-31T03:29:19.952" v="356" actId="21"/>
          <ac:graphicFrameMkLst>
            <pc:docMk/>
            <pc:sldMk cId="1604113191" sldId="2147473742"/>
            <ac:graphicFrameMk id="2" creationId="{99BD0635-1801-0FB5-6FF9-00CF35874E63}"/>
          </ac:graphicFrameMkLst>
        </pc:graphicFrameChg>
        <pc:graphicFrameChg chg="add mod">
          <ac:chgData name="Tường SKHĐT" userId="ab9568c39a88b08a" providerId="LiveId" clId="{6633AFB9-5A1F-4E00-B171-13D11DB7E501}" dt="2023-05-31T03:32:31.063" v="401" actId="404"/>
          <ac:graphicFrameMkLst>
            <pc:docMk/>
            <pc:sldMk cId="1604113191" sldId="2147473742"/>
            <ac:graphicFrameMk id="3" creationId="{0636A76A-35B9-0329-EF8B-185DBFAD93AA}"/>
          </ac:graphicFrameMkLst>
        </pc:graphicFrameChg>
      </pc:sldChg>
      <pc:sldChg chg="addSp delSp modSp add mod">
        <pc:chgData name="Tường SKHĐT" userId="ab9568c39a88b08a" providerId="LiveId" clId="{6633AFB9-5A1F-4E00-B171-13D11DB7E501}" dt="2023-05-31T09:45:57.344" v="620" actId="14100"/>
        <pc:sldMkLst>
          <pc:docMk/>
          <pc:sldMk cId="276788838" sldId="2147473743"/>
        </pc:sldMkLst>
        <pc:graphicFrameChg chg="add del mod modGraphic">
          <ac:chgData name="Tường SKHĐT" userId="ab9568c39a88b08a" providerId="LiveId" clId="{6633AFB9-5A1F-4E00-B171-13D11DB7E501}" dt="2023-05-31T09:45:52.949" v="619" actId="20577"/>
          <ac:graphicFrameMkLst>
            <pc:docMk/>
            <pc:sldMk cId="276788838" sldId="2147473743"/>
            <ac:graphicFrameMk id="2" creationId="{3E45EC01-8919-CDD1-BF49-FD790779B8D8}"/>
          </ac:graphicFrameMkLst>
        </pc:graphicFrameChg>
        <pc:graphicFrameChg chg="del mod">
          <ac:chgData name="Tường SKHĐT" userId="ab9568c39a88b08a" providerId="LiveId" clId="{6633AFB9-5A1F-4E00-B171-13D11DB7E501}" dt="2023-05-31T09:44:52.170" v="573" actId="21"/>
          <ac:graphicFrameMkLst>
            <pc:docMk/>
            <pc:sldMk cId="276788838" sldId="2147473743"/>
            <ac:graphicFrameMk id="3" creationId="{B97D6AD9-427C-D4DD-EB8A-E52240D50DDC}"/>
          </ac:graphicFrameMkLst>
        </pc:graphicFrameChg>
        <pc:graphicFrameChg chg="del mod">
          <ac:chgData name="Tường SKHĐT" userId="ab9568c39a88b08a" providerId="LiveId" clId="{6633AFB9-5A1F-4E00-B171-13D11DB7E501}" dt="2023-05-31T09:45:31.152" v="577" actId="21"/>
          <ac:graphicFrameMkLst>
            <pc:docMk/>
            <pc:sldMk cId="276788838" sldId="2147473743"/>
            <ac:graphicFrameMk id="4" creationId="{E9E09300-0406-7225-E3DF-8058DE1AA30C}"/>
          </ac:graphicFrameMkLst>
        </pc:graphicFrameChg>
        <pc:graphicFrameChg chg="mod">
          <ac:chgData name="Tường SKHĐT" userId="ab9568c39a88b08a" providerId="LiveId" clId="{6633AFB9-5A1F-4E00-B171-13D11DB7E501}" dt="2023-05-31T09:45:57.344" v="620" actId="14100"/>
          <ac:graphicFrameMkLst>
            <pc:docMk/>
            <pc:sldMk cId="276788838" sldId="2147473743"/>
            <ac:graphicFrameMk id="5" creationId="{A12A8C36-ABD5-9F37-3859-60C635D270CE}"/>
          </ac:graphicFrameMkLst>
        </pc:graphicFrameChg>
        <pc:graphicFrameChg chg="del">
          <ac:chgData name="Tường SKHĐT" userId="ab9568c39a88b08a" providerId="LiveId" clId="{6633AFB9-5A1F-4E00-B171-13D11DB7E501}" dt="2023-05-31T09:40:29.712" v="566" actId="21"/>
          <ac:graphicFrameMkLst>
            <pc:docMk/>
            <pc:sldMk cId="276788838" sldId="2147473743"/>
            <ac:graphicFrameMk id="7" creationId="{BD7AA84A-7BB7-C999-60CC-D8478BD0C8EB}"/>
          </ac:graphicFrameMkLst>
        </pc:graphicFrameChg>
      </pc:sldChg>
    </pc:docChg>
  </pc:docChgLst>
  <pc:docChgLst>
    <pc:chgData name="Tường SKHĐT" userId="ab9568c39a88b08a" providerId="LiveId" clId="{24B61DD5-81B7-41F8-A7DC-70CAC367F49C}"/>
    <pc:docChg chg="undo custSel addSld delSld modSld">
      <pc:chgData name="Tường SKHĐT" userId="ab9568c39a88b08a" providerId="LiveId" clId="{24B61DD5-81B7-41F8-A7DC-70CAC367F49C}" dt="2023-06-05T04:11:49.881" v="3208" actId="21"/>
      <pc:docMkLst>
        <pc:docMk/>
      </pc:docMkLst>
      <pc:sldChg chg="del">
        <pc:chgData name="Tường SKHĐT" userId="ab9568c39a88b08a" providerId="LiveId" clId="{24B61DD5-81B7-41F8-A7DC-70CAC367F49C}" dt="2023-06-04T04:32:46.909" v="324" actId="2696"/>
        <pc:sldMkLst>
          <pc:docMk/>
          <pc:sldMk cId="2056297670" sldId="296"/>
        </pc:sldMkLst>
      </pc:sldChg>
      <pc:sldChg chg="modSp mod">
        <pc:chgData name="Tường SKHĐT" userId="ab9568c39a88b08a" providerId="LiveId" clId="{24B61DD5-81B7-41F8-A7DC-70CAC367F49C}" dt="2023-06-04T08:04:52.816" v="655" actId="1076"/>
        <pc:sldMkLst>
          <pc:docMk/>
          <pc:sldMk cId="1167827339" sldId="312"/>
        </pc:sldMkLst>
        <pc:spChg chg="mod">
          <ac:chgData name="Tường SKHĐT" userId="ab9568c39a88b08a" providerId="LiveId" clId="{24B61DD5-81B7-41F8-A7DC-70CAC367F49C}" dt="2023-06-04T08:04:03.273" v="626" actId="1076"/>
          <ac:spMkLst>
            <pc:docMk/>
            <pc:sldMk cId="1167827339" sldId="312"/>
            <ac:spMk id="3" creationId="{2A751374-679E-BBE1-94F7-C6E2AB871A48}"/>
          </ac:spMkLst>
        </pc:spChg>
        <pc:spChg chg="mod">
          <ac:chgData name="Tường SKHĐT" userId="ab9568c39a88b08a" providerId="LiveId" clId="{24B61DD5-81B7-41F8-A7DC-70CAC367F49C}" dt="2023-06-04T08:03:50.954" v="620" actId="14100"/>
          <ac:spMkLst>
            <pc:docMk/>
            <pc:sldMk cId="1167827339" sldId="312"/>
            <ac:spMk id="27" creationId="{7CD320CC-5365-5B76-06FE-1E9511129F1C}"/>
          </ac:spMkLst>
        </pc:spChg>
        <pc:spChg chg="mod">
          <ac:chgData name="Tường SKHĐT" userId="ab9568c39a88b08a" providerId="LiveId" clId="{24B61DD5-81B7-41F8-A7DC-70CAC367F49C}" dt="2023-06-04T08:04:32.618" v="646" actId="20577"/>
          <ac:spMkLst>
            <pc:docMk/>
            <pc:sldMk cId="1167827339" sldId="312"/>
            <ac:spMk id="28" creationId="{5BD82E29-7F38-7121-0BDE-4B57F6FB9C64}"/>
          </ac:spMkLst>
        </pc:spChg>
        <pc:spChg chg="mod">
          <ac:chgData name="Tường SKHĐT" userId="ab9568c39a88b08a" providerId="LiveId" clId="{24B61DD5-81B7-41F8-A7DC-70CAC367F49C}" dt="2023-06-04T08:04:37.505" v="654" actId="20577"/>
          <ac:spMkLst>
            <pc:docMk/>
            <pc:sldMk cId="1167827339" sldId="312"/>
            <ac:spMk id="29" creationId="{87785BE8-8D2C-34AD-3528-6DEFFB1C2187}"/>
          </ac:spMkLst>
        </pc:spChg>
        <pc:spChg chg="mod">
          <ac:chgData name="Tường SKHĐT" userId="ab9568c39a88b08a" providerId="LiveId" clId="{24B61DD5-81B7-41F8-A7DC-70CAC367F49C}" dt="2023-06-04T08:04:21.199" v="632" actId="1076"/>
          <ac:spMkLst>
            <pc:docMk/>
            <pc:sldMk cId="1167827339" sldId="312"/>
            <ac:spMk id="31" creationId="{1E109656-FAA0-49E2-E8DD-60239AF09A20}"/>
          </ac:spMkLst>
        </pc:spChg>
        <pc:spChg chg="mod">
          <ac:chgData name="Tường SKHĐT" userId="ab9568c39a88b08a" providerId="LiveId" clId="{24B61DD5-81B7-41F8-A7DC-70CAC367F49C}" dt="2023-06-04T08:04:52.816" v="655" actId="1076"/>
          <ac:spMkLst>
            <pc:docMk/>
            <pc:sldMk cId="1167827339" sldId="312"/>
            <ac:spMk id="32" creationId="{BA5DABAD-7DB7-85BC-1C62-09803A1F7DD6}"/>
          </ac:spMkLst>
        </pc:spChg>
        <pc:spChg chg="mod">
          <ac:chgData name="Tường SKHĐT" userId="ab9568c39a88b08a" providerId="LiveId" clId="{24B61DD5-81B7-41F8-A7DC-70CAC367F49C}" dt="2023-06-04T08:03:41.021" v="616" actId="404"/>
          <ac:spMkLst>
            <pc:docMk/>
            <pc:sldMk cId="1167827339" sldId="312"/>
            <ac:spMk id="37" creationId="{AD8E6693-4876-0F97-216B-C82F5C0BBF88}"/>
          </ac:spMkLst>
        </pc:spChg>
        <pc:spChg chg="mod">
          <ac:chgData name="Tường SKHĐT" userId="ab9568c39a88b08a" providerId="LiveId" clId="{24B61DD5-81B7-41F8-A7DC-70CAC367F49C}" dt="2023-06-04T08:03:20.902" v="606" actId="20577"/>
          <ac:spMkLst>
            <pc:docMk/>
            <pc:sldMk cId="1167827339" sldId="312"/>
            <ac:spMk id="39" creationId="{E730890D-28F6-AD79-64B4-53EDC9842AEC}"/>
          </ac:spMkLst>
        </pc:spChg>
        <pc:spChg chg="mod">
          <ac:chgData name="Tường SKHĐT" userId="ab9568c39a88b08a" providerId="LiveId" clId="{24B61DD5-81B7-41F8-A7DC-70CAC367F49C}" dt="2023-06-04T08:02:58.997" v="587" actId="403"/>
          <ac:spMkLst>
            <pc:docMk/>
            <pc:sldMk cId="1167827339" sldId="312"/>
            <ac:spMk id="42" creationId="{BB512797-5E5F-0EFF-B3C6-610776487614}"/>
          </ac:spMkLst>
        </pc:spChg>
        <pc:grpChg chg="mod">
          <ac:chgData name="Tường SKHĐT" userId="ab9568c39a88b08a" providerId="LiveId" clId="{24B61DD5-81B7-41F8-A7DC-70CAC367F49C}" dt="2023-06-04T08:03:05.270" v="588" actId="14100"/>
          <ac:grpSpMkLst>
            <pc:docMk/>
            <pc:sldMk cId="1167827339" sldId="312"/>
            <ac:grpSpMk id="44" creationId="{625077EF-140C-4D6F-E73A-0FB58A172694}"/>
          </ac:grpSpMkLst>
        </pc:grpChg>
        <pc:picChg chg="mod">
          <ac:chgData name="Tường SKHĐT" userId="ab9568c39a88b08a" providerId="LiveId" clId="{24B61DD5-81B7-41F8-A7DC-70CAC367F49C}" dt="2023-06-04T08:03:08.613" v="589" actId="1076"/>
          <ac:picMkLst>
            <pc:docMk/>
            <pc:sldMk cId="1167827339" sldId="312"/>
            <ac:picMk id="47" creationId="{CC005B64-750F-0970-3CD5-C7E58D330D2A}"/>
          </ac:picMkLst>
        </pc:picChg>
      </pc:sldChg>
      <pc:sldChg chg="modSp mod">
        <pc:chgData name="Tường SKHĐT" userId="ab9568c39a88b08a" providerId="LiveId" clId="{24B61DD5-81B7-41F8-A7DC-70CAC367F49C}" dt="2023-06-05T03:33:12.664" v="2272"/>
        <pc:sldMkLst>
          <pc:docMk/>
          <pc:sldMk cId="2016091477" sldId="608"/>
        </pc:sldMkLst>
        <pc:graphicFrameChg chg="mod">
          <ac:chgData name="Tường SKHĐT" userId="ab9568c39a88b08a" providerId="LiveId" clId="{24B61DD5-81B7-41F8-A7DC-70CAC367F49C}" dt="2023-06-05T03:33:12.664" v="2272"/>
          <ac:graphicFrameMkLst>
            <pc:docMk/>
            <pc:sldMk cId="2016091477" sldId="608"/>
            <ac:graphicFrameMk id="6" creationId="{00000000-0000-0000-0000-000000000000}"/>
          </ac:graphicFrameMkLst>
        </pc:graphicFrameChg>
      </pc:sldChg>
      <pc:sldChg chg="delSp modSp mod">
        <pc:chgData name="Tường SKHĐT" userId="ab9568c39a88b08a" providerId="LiveId" clId="{24B61DD5-81B7-41F8-A7DC-70CAC367F49C}" dt="2023-06-05T03:41:39.059" v="2397" actId="20577"/>
        <pc:sldMkLst>
          <pc:docMk/>
          <pc:sldMk cId="2802465441" sldId="2147473522"/>
        </pc:sldMkLst>
        <pc:graphicFrameChg chg="mod modGraphic">
          <ac:chgData name="Tường SKHĐT" userId="ab9568c39a88b08a" providerId="LiveId" clId="{24B61DD5-81B7-41F8-A7DC-70CAC367F49C}" dt="2023-06-05T03:41:39.059" v="2397" actId="20577"/>
          <ac:graphicFrameMkLst>
            <pc:docMk/>
            <pc:sldMk cId="2802465441" sldId="2147473522"/>
            <ac:graphicFrameMk id="9" creationId="{0FC7DBA8-03B5-1D5D-B7A1-68AA6F62DF7E}"/>
          </ac:graphicFrameMkLst>
        </pc:graphicFrameChg>
        <pc:picChg chg="del">
          <ac:chgData name="Tường SKHĐT" userId="ab9568c39a88b08a" providerId="LiveId" clId="{24B61DD5-81B7-41F8-A7DC-70CAC367F49C}" dt="2023-06-04T08:27:59.521" v="1316" actId="21"/>
          <ac:picMkLst>
            <pc:docMk/>
            <pc:sldMk cId="2802465441" sldId="2147473522"/>
            <ac:picMk id="3" creationId="{F1C86665-484F-794D-CFA7-5A2693500FE9}"/>
          </ac:picMkLst>
        </pc:picChg>
        <pc:picChg chg="del">
          <ac:chgData name="Tường SKHĐT" userId="ab9568c39a88b08a" providerId="LiveId" clId="{24B61DD5-81B7-41F8-A7DC-70CAC367F49C}" dt="2023-06-04T08:27:57.806" v="1315" actId="21"/>
          <ac:picMkLst>
            <pc:docMk/>
            <pc:sldMk cId="2802465441" sldId="2147473522"/>
            <ac:picMk id="8" creationId="{F0A73329-AE20-B910-E169-A74500C6FEB7}"/>
          </ac:picMkLst>
        </pc:picChg>
        <pc:picChg chg="del">
          <ac:chgData name="Tường SKHĐT" userId="ab9568c39a88b08a" providerId="LiveId" clId="{24B61DD5-81B7-41F8-A7DC-70CAC367F49C}" dt="2023-06-04T08:27:56.014" v="1314" actId="21"/>
          <ac:picMkLst>
            <pc:docMk/>
            <pc:sldMk cId="2802465441" sldId="2147473522"/>
            <ac:picMk id="10" creationId="{CFBFB6E7-96C3-05D1-23B2-B45C626CE989}"/>
          </ac:picMkLst>
        </pc:picChg>
      </pc:sldChg>
      <pc:sldChg chg="addSp delSp modSp add mod modAnim">
        <pc:chgData name="Tường SKHĐT" userId="ab9568c39a88b08a" providerId="LiveId" clId="{24B61DD5-81B7-41F8-A7DC-70CAC367F49C}" dt="2023-06-05T03:46:33.688" v="2588" actId="1076"/>
        <pc:sldMkLst>
          <pc:docMk/>
          <pc:sldMk cId="664381054" sldId="2147473536"/>
        </pc:sldMkLst>
        <pc:spChg chg="add del mod">
          <ac:chgData name="Tường SKHĐT" userId="ab9568c39a88b08a" providerId="LiveId" clId="{24B61DD5-81B7-41F8-A7DC-70CAC367F49C}" dt="2023-06-05T03:42:42.737" v="2401"/>
          <ac:spMkLst>
            <pc:docMk/>
            <pc:sldMk cId="664381054" sldId="2147473536"/>
            <ac:spMk id="4" creationId="{3BEF42E1-D96A-7D7C-6519-501E25B6F3C7}"/>
          </ac:spMkLst>
        </pc:spChg>
        <pc:spChg chg="del mod">
          <ac:chgData name="Tường SKHĐT" userId="ab9568c39a88b08a" providerId="LiveId" clId="{24B61DD5-81B7-41F8-A7DC-70CAC367F49C}" dt="2023-06-05T03:33:30.727" v="2274" actId="21"/>
          <ac:spMkLst>
            <pc:docMk/>
            <pc:sldMk cId="664381054" sldId="2147473536"/>
            <ac:spMk id="5" creationId="{A5E63777-D9B0-CC7C-4534-85577A499B18}"/>
          </ac:spMkLst>
        </pc:spChg>
        <pc:spChg chg="add mod">
          <ac:chgData name="Tường SKHĐT" userId="ab9568c39a88b08a" providerId="LiveId" clId="{24B61DD5-81B7-41F8-A7DC-70CAC367F49C}" dt="2023-06-05T03:45:24.942" v="2576" actId="113"/>
          <ac:spMkLst>
            <pc:docMk/>
            <pc:sldMk cId="664381054" sldId="2147473536"/>
            <ac:spMk id="9" creationId="{F65198A7-A118-3199-D245-9517CFA4BF98}"/>
          </ac:spMkLst>
        </pc:spChg>
        <pc:spChg chg="add mod">
          <ac:chgData name="Tường SKHĐT" userId="ab9568c39a88b08a" providerId="LiveId" clId="{24B61DD5-81B7-41F8-A7DC-70CAC367F49C}" dt="2023-06-05T03:46:33.688" v="2588" actId="1076"/>
          <ac:spMkLst>
            <pc:docMk/>
            <pc:sldMk cId="664381054" sldId="2147473536"/>
            <ac:spMk id="11" creationId="{C5CB5686-CC5E-0FCE-8C42-0C188F5995E9}"/>
          </ac:spMkLst>
        </pc:spChg>
        <pc:spChg chg="mod">
          <ac:chgData name="Tường SKHĐT" userId="ab9568c39a88b08a" providerId="LiveId" clId="{24B61DD5-81B7-41F8-A7DC-70CAC367F49C}" dt="2023-06-05T03:33:44.792" v="2280" actId="14100"/>
          <ac:spMkLst>
            <pc:docMk/>
            <pc:sldMk cId="664381054" sldId="2147473536"/>
            <ac:spMk id="13" creationId="{8BA917FC-5F9B-C148-956E-1F8894C8762A}"/>
          </ac:spMkLst>
        </pc:spChg>
        <pc:graphicFrameChg chg="add del mod">
          <ac:chgData name="Tường SKHĐT" userId="ab9568c39a88b08a" providerId="LiveId" clId="{24B61DD5-81B7-41F8-A7DC-70CAC367F49C}" dt="2023-06-05T03:42:42.737" v="2401"/>
          <ac:graphicFrameMkLst>
            <pc:docMk/>
            <pc:sldMk cId="664381054" sldId="2147473536"/>
            <ac:graphicFrameMk id="2" creationId="{3E93DE92-849F-F22C-0746-FC71FAB3DF36}"/>
          </ac:graphicFrameMkLst>
        </pc:graphicFrameChg>
        <pc:graphicFrameChg chg="add del mod">
          <ac:chgData name="Tường SKHĐT" userId="ab9568c39a88b08a" providerId="LiveId" clId="{24B61DD5-81B7-41F8-A7DC-70CAC367F49C}" dt="2023-06-05T03:42:42.737" v="2401"/>
          <ac:graphicFrameMkLst>
            <pc:docMk/>
            <pc:sldMk cId="664381054" sldId="2147473536"/>
            <ac:graphicFrameMk id="3" creationId="{6704CF02-48BA-8464-113D-6AAB245D51FF}"/>
          </ac:graphicFrameMkLst>
        </pc:graphicFrameChg>
        <pc:graphicFrameChg chg="mod modGraphic">
          <ac:chgData name="Tường SKHĐT" userId="ab9568c39a88b08a" providerId="LiveId" clId="{24B61DD5-81B7-41F8-A7DC-70CAC367F49C}" dt="2023-06-05T03:46:22.999" v="2586" actId="1076"/>
          <ac:graphicFrameMkLst>
            <pc:docMk/>
            <pc:sldMk cId="664381054" sldId="2147473536"/>
            <ac:graphicFrameMk id="6" creationId="{00000000-0000-0000-0000-000000000000}"/>
          </ac:graphicFrameMkLst>
        </pc:graphicFrameChg>
        <pc:graphicFrameChg chg="del">
          <ac:chgData name="Tường SKHĐT" userId="ab9568c39a88b08a" providerId="LiveId" clId="{24B61DD5-81B7-41F8-A7DC-70CAC367F49C}" dt="2023-06-05T03:42:37.158" v="2399" actId="21"/>
          <ac:graphicFrameMkLst>
            <pc:docMk/>
            <pc:sldMk cId="664381054" sldId="2147473536"/>
            <ac:graphicFrameMk id="12" creationId="{CC3750B6-684E-2355-6101-736BF658C17F}"/>
          </ac:graphicFrameMkLst>
        </pc:graphicFrameChg>
        <pc:picChg chg="add mod">
          <ac:chgData name="Tường SKHĐT" userId="ab9568c39a88b08a" providerId="LiveId" clId="{24B61DD5-81B7-41F8-A7DC-70CAC367F49C}" dt="2023-06-05T03:43:58.786" v="2409" actId="1076"/>
          <ac:picMkLst>
            <pc:docMk/>
            <pc:sldMk cId="664381054" sldId="2147473536"/>
            <ac:picMk id="8" creationId="{3FAC6445-5105-E4C2-759A-3C778488EAD8}"/>
          </ac:picMkLst>
        </pc:picChg>
        <pc:cxnChg chg="del">
          <ac:chgData name="Tường SKHĐT" userId="ab9568c39a88b08a" providerId="LiveId" clId="{24B61DD5-81B7-41F8-A7DC-70CAC367F49C}" dt="2023-06-05T03:33:32.005" v="2275" actId="21"/>
          <ac:cxnSpMkLst>
            <pc:docMk/>
            <pc:sldMk cId="664381054" sldId="2147473536"/>
            <ac:cxnSpMk id="10" creationId="{9923AE74-1EB9-B8B8-7F10-C195957B00FF}"/>
          </ac:cxnSpMkLst>
        </pc:cxnChg>
      </pc:sldChg>
      <pc:sldChg chg="modSp">
        <pc:chgData name="Tường SKHĐT" userId="ab9568c39a88b08a" providerId="LiveId" clId="{24B61DD5-81B7-41F8-A7DC-70CAC367F49C}" dt="2023-06-05T04:10:55.493" v="3198" actId="12"/>
        <pc:sldMkLst>
          <pc:docMk/>
          <pc:sldMk cId="1168642509" sldId="2147473537"/>
        </pc:sldMkLst>
        <pc:spChg chg="mod">
          <ac:chgData name="Tường SKHĐT" userId="ab9568c39a88b08a" providerId="LiveId" clId="{24B61DD5-81B7-41F8-A7DC-70CAC367F49C}" dt="2023-06-05T04:10:55.493" v="3198" actId="12"/>
          <ac:spMkLst>
            <pc:docMk/>
            <pc:sldMk cId="1168642509" sldId="2147473537"/>
            <ac:spMk id="2" creationId="{A49FA47D-1679-133E-0301-5CFB76FC4F8D}"/>
          </ac:spMkLst>
        </pc:spChg>
      </pc:sldChg>
      <pc:sldChg chg="modSp mod">
        <pc:chgData name="Tường SKHĐT" userId="ab9568c39a88b08a" providerId="LiveId" clId="{24B61DD5-81B7-41F8-A7DC-70CAC367F49C}" dt="2023-06-05T04:10:35.378" v="3194" actId="12"/>
        <pc:sldMkLst>
          <pc:docMk/>
          <pc:sldMk cId="2553187395" sldId="2147473539"/>
        </pc:sldMkLst>
        <pc:spChg chg="mod">
          <ac:chgData name="Tường SKHĐT" userId="ab9568c39a88b08a" providerId="LiveId" clId="{24B61DD5-81B7-41F8-A7DC-70CAC367F49C}" dt="2023-06-05T04:10:35.378" v="3194" actId="12"/>
          <ac:spMkLst>
            <pc:docMk/>
            <pc:sldMk cId="2553187395" sldId="2147473539"/>
            <ac:spMk id="2" creationId="{A49FA47D-1679-133E-0301-5CFB76FC4F8D}"/>
          </ac:spMkLst>
        </pc:spChg>
      </pc:sldChg>
      <pc:sldChg chg="modSp mod">
        <pc:chgData name="Tường SKHĐT" userId="ab9568c39a88b08a" providerId="LiveId" clId="{24B61DD5-81B7-41F8-A7DC-70CAC367F49C}" dt="2023-06-05T03:54:26.719" v="2600" actId="20577"/>
        <pc:sldMkLst>
          <pc:docMk/>
          <pc:sldMk cId="1786243308" sldId="2147473545"/>
        </pc:sldMkLst>
        <pc:graphicFrameChg chg="mod modGraphic">
          <ac:chgData name="Tường SKHĐT" userId="ab9568c39a88b08a" providerId="LiveId" clId="{24B61DD5-81B7-41F8-A7DC-70CAC367F49C}" dt="2023-06-05T03:54:26.719" v="2600" actId="20577"/>
          <ac:graphicFrameMkLst>
            <pc:docMk/>
            <pc:sldMk cId="1786243308" sldId="2147473545"/>
            <ac:graphicFrameMk id="8" creationId="{B5E5335D-2EED-82AF-3A59-FAE8BB94EAE1}"/>
          </ac:graphicFrameMkLst>
        </pc:graphicFrameChg>
      </pc:sldChg>
      <pc:sldChg chg="addSp delSp modSp add mod">
        <pc:chgData name="Tường SKHĐT" userId="ab9568c39a88b08a" providerId="LiveId" clId="{24B61DD5-81B7-41F8-A7DC-70CAC367F49C}" dt="2023-06-05T02:15:16.085" v="2004" actId="1076"/>
        <pc:sldMkLst>
          <pc:docMk/>
          <pc:sldMk cId="397313561" sldId="2147473547"/>
        </pc:sldMkLst>
        <pc:spChg chg="add mod">
          <ac:chgData name="Tường SKHĐT" userId="ab9568c39a88b08a" providerId="LiveId" clId="{24B61DD5-81B7-41F8-A7DC-70CAC367F49C}" dt="2023-06-05T02:15:08.925" v="2002" actId="1076"/>
          <ac:spMkLst>
            <pc:docMk/>
            <pc:sldMk cId="397313561" sldId="2147473547"/>
            <ac:spMk id="2" creationId="{EE8CB48F-970D-5112-81B2-029AA760C6DA}"/>
          </ac:spMkLst>
        </pc:spChg>
        <pc:spChg chg="del">
          <ac:chgData name="Tường SKHĐT" userId="ab9568c39a88b08a" providerId="LiveId" clId="{24B61DD5-81B7-41F8-A7DC-70CAC367F49C}" dt="2023-06-05T02:14:35.576" v="1996" actId="21"/>
          <ac:spMkLst>
            <pc:docMk/>
            <pc:sldMk cId="397313561" sldId="2147473547"/>
            <ac:spMk id="3" creationId="{68F566EC-ECDF-1812-24EA-FDD2B5F92E41}"/>
          </ac:spMkLst>
        </pc:spChg>
        <pc:spChg chg="del">
          <ac:chgData name="Tường SKHĐT" userId="ab9568c39a88b08a" providerId="LiveId" clId="{24B61DD5-81B7-41F8-A7DC-70CAC367F49C}" dt="2023-06-05T02:14:35.576" v="1996" actId="21"/>
          <ac:spMkLst>
            <pc:docMk/>
            <pc:sldMk cId="397313561" sldId="2147473547"/>
            <ac:spMk id="4" creationId="{16D24723-A233-03FF-2329-1817AB93339D}"/>
          </ac:spMkLst>
        </pc:spChg>
        <pc:spChg chg="add del mod">
          <ac:chgData name="Tường SKHĐT" userId="ab9568c39a88b08a" providerId="LiveId" clId="{24B61DD5-81B7-41F8-A7DC-70CAC367F49C}" dt="2023-06-05T02:14:57.464" v="1998" actId="21"/>
          <ac:spMkLst>
            <pc:docMk/>
            <pc:sldMk cId="397313561" sldId="2147473547"/>
            <ac:spMk id="5" creationId="{5D81B148-B5D9-E0E2-4AD6-484EDE4DDBD9}"/>
          </ac:spMkLst>
        </pc:spChg>
        <pc:spChg chg="mod">
          <ac:chgData name="Tường SKHĐT" userId="ab9568c39a88b08a" providerId="LiveId" clId="{24B61DD5-81B7-41F8-A7DC-70CAC367F49C}" dt="2023-06-05T02:15:16.085" v="2004" actId="1076"/>
          <ac:spMkLst>
            <pc:docMk/>
            <pc:sldMk cId="397313561" sldId="2147473547"/>
            <ac:spMk id="11" creationId="{3007B833-D772-D3A8-1664-582536F2954A}"/>
          </ac:spMkLst>
        </pc:spChg>
        <pc:picChg chg="mod">
          <ac:chgData name="Tường SKHĐT" userId="ab9568c39a88b08a" providerId="LiveId" clId="{24B61DD5-81B7-41F8-A7DC-70CAC367F49C}" dt="2023-06-05T02:15:13.155" v="2003" actId="14100"/>
          <ac:picMkLst>
            <pc:docMk/>
            <pc:sldMk cId="397313561" sldId="2147473547"/>
            <ac:picMk id="7" creationId="{61B458B2-ABEE-0E4C-31F7-5318B2296E94}"/>
          </ac:picMkLst>
        </pc:picChg>
        <pc:cxnChg chg="del">
          <ac:chgData name="Tường SKHĐT" userId="ab9568c39a88b08a" providerId="LiveId" clId="{24B61DD5-81B7-41F8-A7DC-70CAC367F49C}" dt="2023-06-05T02:14:35.576" v="1996" actId="21"/>
          <ac:cxnSpMkLst>
            <pc:docMk/>
            <pc:sldMk cId="397313561" sldId="2147473547"/>
            <ac:cxnSpMk id="6" creationId="{FF705920-E1B4-B4D0-9EA4-A27AA5761577}"/>
          </ac:cxnSpMkLst>
        </pc:cxnChg>
      </pc:sldChg>
      <pc:sldChg chg="modSp mod">
        <pc:chgData name="Tường SKHĐT" userId="ab9568c39a88b08a" providerId="LiveId" clId="{24B61DD5-81B7-41F8-A7DC-70CAC367F49C}" dt="2023-06-04T04:34:41.901" v="356" actId="20577"/>
        <pc:sldMkLst>
          <pc:docMk/>
          <pc:sldMk cId="1783682046" sldId="2147473574"/>
        </pc:sldMkLst>
        <pc:graphicFrameChg chg="modGraphic">
          <ac:chgData name="Tường SKHĐT" userId="ab9568c39a88b08a" providerId="LiveId" clId="{24B61DD5-81B7-41F8-A7DC-70CAC367F49C}" dt="2023-06-04T04:34:41.901" v="356" actId="20577"/>
          <ac:graphicFrameMkLst>
            <pc:docMk/>
            <pc:sldMk cId="1783682046" sldId="2147473574"/>
            <ac:graphicFrameMk id="8" creationId="{B5E5335D-2EED-82AF-3A59-FAE8BB94EAE1}"/>
          </ac:graphicFrameMkLst>
        </pc:graphicFrameChg>
      </pc:sldChg>
      <pc:sldChg chg="addSp delSp modSp mod">
        <pc:chgData name="Tường SKHĐT" userId="ab9568c39a88b08a" providerId="LiveId" clId="{24B61DD5-81B7-41F8-A7DC-70CAC367F49C}" dt="2023-06-05T04:10:49.472" v="3197" actId="12"/>
        <pc:sldMkLst>
          <pc:docMk/>
          <pc:sldMk cId="2835104792" sldId="2147473580"/>
        </pc:sldMkLst>
        <pc:spChg chg="mod">
          <ac:chgData name="Tường SKHĐT" userId="ab9568c39a88b08a" providerId="LiveId" clId="{24B61DD5-81B7-41F8-A7DC-70CAC367F49C}" dt="2023-06-05T04:10:49.472" v="3197" actId="12"/>
          <ac:spMkLst>
            <pc:docMk/>
            <pc:sldMk cId="2835104792" sldId="2147473580"/>
            <ac:spMk id="11" creationId="{7E2CE505-A30B-BB03-1C76-24E8431A366B}"/>
          </ac:spMkLst>
        </pc:spChg>
        <pc:picChg chg="add mod">
          <ac:chgData name="Tường SKHĐT" userId="ab9568c39a88b08a" providerId="LiveId" clId="{24B61DD5-81B7-41F8-A7DC-70CAC367F49C}" dt="2023-06-04T04:13:41.179" v="224" actId="14100"/>
          <ac:picMkLst>
            <pc:docMk/>
            <pc:sldMk cId="2835104792" sldId="2147473580"/>
            <ac:picMk id="2" creationId="{C80825AB-D68F-703E-276A-23A5BBC67D2E}"/>
          </ac:picMkLst>
        </pc:picChg>
        <pc:picChg chg="del">
          <ac:chgData name="Tường SKHĐT" userId="ab9568c39a88b08a" providerId="LiveId" clId="{24B61DD5-81B7-41F8-A7DC-70CAC367F49C}" dt="2023-06-04T04:13:03.755" v="214" actId="21"/>
          <ac:picMkLst>
            <pc:docMk/>
            <pc:sldMk cId="2835104792" sldId="2147473580"/>
            <ac:picMk id="3" creationId="{0FFE35E4-3462-E898-CC1D-E8393F34004C}"/>
          </ac:picMkLst>
        </pc:picChg>
        <pc:picChg chg="mod">
          <ac:chgData name="Tường SKHĐT" userId="ab9568c39a88b08a" providerId="LiveId" clId="{24B61DD5-81B7-41F8-A7DC-70CAC367F49C}" dt="2023-06-04T04:13:13.399" v="218" actId="14100"/>
          <ac:picMkLst>
            <pc:docMk/>
            <pc:sldMk cId="2835104792" sldId="2147473580"/>
            <ac:picMk id="5" creationId="{397635BC-4AA2-B44A-F88B-2E47489DA335}"/>
          </ac:picMkLst>
        </pc:picChg>
        <pc:picChg chg="mod">
          <ac:chgData name="Tường SKHĐT" userId="ab9568c39a88b08a" providerId="LiveId" clId="{24B61DD5-81B7-41F8-A7DC-70CAC367F49C}" dt="2023-06-04T04:13:11.744" v="217" actId="14100"/>
          <ac:picMkLst>
            <pc:docMk/>
            <pc:sldMk cId="2835104792" sldId="2147473580"/>
            <ac:picMk id="10" creationId="{6C3F29D3-A8DF-868D-2F9A-C55475DA40F5}"/>
          </ac:picMkLst>
        </pc:picChg>
      </pc:sldChg>
      <pc:sldChg chg="modSp">
        <pc:chgData name="Tường SKHĐT" userId="ab9568c39a88b08a" providerId="LiveId" clId="{24B61DD5-81B7-41F8-A7DC-70CAC367F49C}" dt="2023-06-05T04:10:42.121" v="3196" actId="404"/>
        <pc:sldMkLst>
          <pc:docMk/>
          <pc:sldMk cId="2155607679" sldId="2147473581"/>
        </pc:sldMkLst>
        <pc:spChg chg="mod">
          <ac:chgData name="Tường SKHĐT" userId="ab9568c39a88b08a" providerId="LiveId" clId="{24B61DD5-81B7-41F8-A7DC-70CAC367F49C}" dt="2023-06-05T04:10:42.121" v="3196" actId="404"/>
          <ac:spMkLst>
            <pc:docMk/>
            <pc:sldMk cId="2155607679" sldId="2147473581"/>
            <ac:spMk id="2" creationId="{A49FA47D-1679-133E-0301-5CFB76FC4F8D}"/>
          </ac:spMkLst>
        </pc:spChg>
      </pc:sldChg>
      <pc:sldChg chg="modSp mod">
        <pc:chgData name="Tường SKHĐT" userId="ab9568c39a88b08a" providerId="LiveId" clId="{24B61DD5-81B7-41F8-A7DC-70CAC367F49C}" dt="2023-06-05T04:10:27.188" v="3193" actId="12"/>
        <pc:sldMkLst>
          <pc:docMk/>
          <pc:sldMk cId="1163171153" sldId="2147473582"/>
        </pc:sldMkLst>
        <pc:spChg chg="mod">
          <ac:chgData name="Tường SKHĐT" userId="ab9568c39a88b08a" providerId="LiveId" clId="{24B61DD5-81B7-41F8-A7DC-70CAC367F49C}" dt="2023-06-05T04:10:27.188" v="3193" actId="12"/>
          <ac:spMkLst>
            <pc:docMk/>
            <pc:sldMk cId="1163171153" sldId="2147473582"/>
            <ac:spMk id="2" creationId="{A49FA47D-1679-133E-0301-5CFB76FC4F8D}"/>
          </ac:spMkLst>
        </pc:spChg>
        <pc:graphicFrameChg chg="mod">
          <ac:chgData name="Tường SKHĐT" userId="ab9568c39a88b08a" providerId="LiveId" clId="{24B61DD5-81B7-41F8-A7DC-70CAC367F49C}" dt="2023-06-05T04:10:15.863" v="3190" actId="1076"/>
          <ac:graphicFrameMkLst>
            <pc:docMk/>
            <pc:sldMk cId="1163171153" sldId="2147473582"/>
            <ac:graphicFrameMk id="13" creationId="{BA133DC1-3B7F-1EF5-AC03-623DAED491B9}"/>
          </ac:graphicFrameMkLst>
        </pc:graphicFrameChg>
        <pc:picChg chg="mod">
          <ac:chgData name="Tường SKHĐT" userId="ab9568c39a88b08a" providerId="LiveId" clId="{24B61DD5-81B7-41F8-A7DC-70CAC367F49C}" dt="2023-06-05T04:10:17.833" v="3191" actId="1076"/>
          <ac:picMkLst>
            <pc:docMk/>
            <pc:sldMk cId="1163171153" sldId="2147473582"/>
            <ac:picMk id="5" creationId="{36D40177-B5F5-4CD7-89E9-D49ADE361564}"/>
          </ac:picMkLst>
        </pc:picChg>
        <pc:picChg chg="mod">
          <ac:chgData name="Tường SKHĐT" userId="ab9568c39a88b08a" providerId="LiveId" clId="{24B61DD5-81B7-41F8-A7DC-70CAC367F49C}" dt="2023-06-05T04:10:19.396" v="3192" actId="1076"/>
          <ac:picMkLst>
            <pc:docMk/>
            <pc:sldMk cId="1163171153" sldId="2147473582"/>
            <ac:picMk id="8" creationId="{83D3B8D5-360E-E1E0-FC28-3F5272FBAFB5}"/>
          </ac:picMkLst>
        </pc:picChg>
      </pc:sldChg>
      <pc:sldChg chg="delSp modSp mod">
        <pc:chgData name="Tường SKHĐT" userId="ab9568c39a88b08a" providerId="LiveId" clId="{24B61DD5-81B7-41F8-A7DC-70CAC367F49C}" dt="2023-06-05T04:09:59.742" v="3189" actId="12"/>
        <pc:sldMkLst>
          <pc:docMk/>
          <pc:sldMk cId="740355695" sldId="2147473583"/>
        </pc:sldMkLst>
        <pc:spChg chg="mod">
          <ac:chgData name="Tường SKHĐT" userId="ab9568c39a88b08a" providerId="LiveId" clId="{24B61DD5-81B7-41F8-A7DC-70CAC367F49C}" dt="2023-06-05T04:09:59.742" v="3189" actId="12"/>
          <ac:spMkLst>
            <pc:docMk/>
            <pc:sldMk cId="740355695" sldId="2147473583"/>
            <ac:spMk id="3" creationId="{F4077AF3-E87B-6ED3-C32E-F690520025FC}"/>
          </ac:spMkLst>
        </pc:spChg>
        <pc:graphicFrameChg chg="mod">
          <ac:chgData name="Tường SKHĐT" userId="ab9568c39a88b08a" providerId="LiveId" clId="{24B61DD5-81B7-41F8-A7DC-70CAC367F49C}" dt="2023-06-05T04:09:48.920" v="3185" actId="1076"/>
          <ac:graphicFrameMkLst>
            <pc:docMk/>
            <pc:sldMk cId="740355695" sldId="2147473583"/>
            <ac:graphicFrameMk id="6" creationId="{00000000-0000-0000-0000-000000000000}"/>
          </ac:graphicFrameMkLst>
        </pc:graphicFrameChg>
        <pc:picChg chg="del">
          <ac:chgData name="Tường SKHĐT" userId="ab9568c39a88b08a" providerId="LiveId" clId="{24B61DD5-81B7-41F8-A7DC-70CAC367F49C}" dt="2023-06-05T04:09:53.084" v="3187" actId="21"/>
          <ac:picMkLst>
            <pc:docMk/>
            <pc:sldMk cId="740355695" sldId="2147473583"/>
            <ac:picMk id="4" creationId="{94FD441F-A561-21F1-AE1E-AA9521385587}"/>
          </ac:picMkLst>
        </pc:picChg>
        <pc:picChg chg="del">
          <ac:chgData name="Tường SKHĐT" userId="ab9568c39a88b08a" providerId="LiveId" clId="{24B61DD5-81B7-41F8-A7DC-70CAC367F49C}" dt="2023-06-05T04:09:51.443" v="3186" actId="21"/>
          <ac:picMkLst>
            <pc:docMk/>
            <pc:sldMk cId="740355695" sldId="2147473583"/>
            <ac:picMk id="10" creationId="{857D0205-743C-819E-EEA6-3EBA1A6B2707}"/>
          </ac:picMkLst>
        </pc:picChg>
      </pc:sldChg>
      <pc:sldChg chg="modSp">
        <pc:chgData name="Tường SKHĐT" userId="ab9568c39a88b08a" providerId="LiveId" clId="{24B61DD5-81B7-41F8-A7DC-70CAC367F49C}" dt="2023-06-04T07:53:45.963" v="447" actId="20577"/>
        <pc:sldMkLst>
          <pc:docMk/>
          <pc:sldMk cId="3397864268" sldId="2147473590"/>
        </pc:sldMkLst>
        <pc:spChg chg="mod">
          <ac:chgData name="Tường SKHĐT" userId="ab9568c39a88b08a" providerId="LiveId" clId="{24B61DD5-81B7-41F8-A7DC-70CAC367F49C}" dt="2023-06-04T07:53:45.963" v="447" actId="20577"/>
          <ac:spMkLst>
            <pc:docMk/>
            <pc:sldMk cId="3397864268" sldId="2147473590"/>
            <ac:spMk id="10" creationId="{8124D21E-909E-1450-16D0-117CABF0D840}"/>
          </ac:spMkLst>
        </pc:spChg>
      </pc:sldChg>
      <pc:sldChg chg="modSp mod">
        <pc:chgData name="Tường SKHĐT" userId="ab9568c39a88b08a" providerId="LiveId" clId="{24B61DD5-81B7-41F8-A7DC-70CAC367F49C}" dt="2023-06-04T09:00:09.854" v="1604" actId="1076"/>
        <pc:sldMkLst>
          <pc:docMk/>
          <pc:sldMk cId="2171956986" sldId="2147473620"/>
        </pc:sldMkLst>
        <pc:spChg chg="mod">
          <ac:chgData name="Tường SKHĐT" userId="ab9568c39a88b08a" providerId="LiveId" clId="{24B61DD5-81B7-41F8-A7DC-70CAC367F49C}" dt="2023-06-04T09:00:09.854" v="1604" actId="1076"/>
          <ac:spMkLst>
            <pc:docMk/>
            <pc:sldMk cId="2171956986" sldId="2147473620"/>
            <ac:spMk id="11" creationId="{6220529F-F711-0C6B-EEFD-3905ECF34CAE}"/>
          </ac:spMkLst>
        </pc:spChg>
        <pc:graphicFrameChg chg="mod">
          <ac:chgData name="Tường SKHĐT" userId="ab9568c39a88b08a" providerId="LiveId" clId="{24B61DD5-81B7-41F8-A7DC-70CAC367F49C}" dt="2023-06-04T08:59:38.061" v="1590" actId="20577"/>
          <ac:graphicFrameMkLst>
            <pc:docMk/>
            <pc:sldMk cId="2171956986" sldId="2147473620"/>
            <ac:graphicFrameMk id="6" creationId="{00000000-0000-0000-0000-000000000000}"/>
          </ac:graphicFrameMkLst>
        </pc:graphicFrameChg>
      </pc:sldChg>
      <pc:sldChg chg="modSp mod">
        <pc:chgData name="Tường SKHĐT" userId="ab9568c39a88b08a" providerId="LiveId" clId="{24B61DD5-81B7-41F8-A7DC-70CAC367F49C}" dt="2023-06-05T03:32:34.335" v="2262"/>
        <pc:sldMkLst>
          <pc:docMk/>
          <pc:sldMk cId="1387142198" sldId="2147473622"/>
        </pc:sldMkLst>
        <pc:graphicFrameChg chg="mod">
          <ac:chgData name="Tường SKHĐT" userId="ab9568c39a88b08a" providerId="LiveId" clId="{24B61DD5-81B7-41F8-A7DC-70CAC367F49C}" dt="2023-06-05T03:32:34.335" v="2262"/>
          <ac:graphicFrameMkLst>
            <pc:docMk/>
            <pc:sldMk cId="1387142198" sldId="2147473622"/>
            <ac:graphicFrameMk id="6" creationId="{00000000-0000-0000-0000-000000000000}"/>
          </ac:graphicFrameMkLst>
        </pc:graphicFrameChg>
      </pc:sldChg>
      <pc:sldChg chg="del">
        <pc:chgData name="Tường SKHĐT" userId="ab9568c39a88b08a" providerId="LiveId" clId="{24B61DD5-81B7-41F8-A7DC-70CAC367F49C}" dt="2023-06-04T08:59:22.083" v="1516" actId="2696"/>
        <pc:sldMkLst>
          <pc:docMk/>
          <pc:sldMk cId="831685957" sldId="2147473634"/>
        </pc:sldMkLst>
      </pc:sldChg>
      <pc:sldChg chg="del">
        <pc:chgData name="Tường SKHĐT" userId="ab9568c39a88b08a" providerId="LiveId" clId="{24B61DD5-81B7-41F8-A7DC-70CAC367F49C}" dt="2023-06-04T04:00:26.912" v="34" actId="2696"/>
        <pc:sldMkLst>
          <pc:docMk/>
          <pc:sldMk cId="1686249856" sldId="2147473647"/>
        </pc:sldMkLst>
      </pc:sldChg>
      <pc:sldChg chg="del">
        <pc:chgData name="Tường SKHĐT" userId="ab9568c39a88b08a" providerId="LiveId" clId="{24B61DD5-81B7-41F8-A7DC-70CAC367F49C}" dt="2023-06-04T09:13:46.818" v="1783" actId="2696"/>
        <pc:sldMkLst>
          <pc:docMk/>
          <pc:sldMk cId="3727718023" sldId="2147473658"/>
        </pc:sldMkLst>
      </pc:sldChg>
      <pc:sldChg chg="del">
        <pc:chgData name="Tường SKHĐT" userId="ab9568c39a88b08a" providerId="LiveId" clId="{24B61DD5-81B7-41F8-A7DC-70CAC367F49C}" dt="2023-06-04T04:30:41.383" v="271" actId="2696"/>
        <pc:sldMkLst>
          <pc:docMk/>
          <pc:sldMk cId="1822202143" sldId="2147473665"/>
        </pc:sldMkLst>
      </pc:sldChg>
      <pc:sldChg chg="addSp delSp modSp mod">
        <pc:chgData name="Tường SKHĐT" userId="ab9568c39a88b08a" providerId="LiveId" clId="{24B61DD5-81B7-41F8-A7DC-70CAC367F49C}" dt="2023-06-05T04:03:47.861" v="3073" actId="1076"/>
        <pc:sldMkLst>
          <pc:docMk/>
          <pc:sldMk cId="635207881" sldId="2147473670"/>
        </pc:sldMkLst>
        <pc:spChg chg="del">
          <ac:chgData name="Tường SKHĐT" userId="ab9568c39a88b08a" providerId="LiveId" clId="{24B61DD5-81B7-41F8-A7DC-70CAC367F49C}" dt="2023-06-04T09:07:01.468" v="1615" actId="21"/>
          <ac:spMkLst>
            <pc:docMk/>
            <pc:sldMk cId="635207881" sldId="2147473670"/>
            <ac:spMk id="5" creationId="{28347602-FDB0-46C8-29EB-B0A21F5E71F1}"/>
          </ac:spMkLst>
        </pc:spChg>
        <pc:spChg chg="add del mod">
          <ac:chgData name="Tường SKHĐT" userId="ab9568c39a88b08a" providerId="LiveId" clId="{24B61DD5-81B7-41F8-A7DC-70CAC367F49C}" dt="2023-06-04T09:08:06.309" v="1664" actId="21"/>
          <ac:spMkLst>
            <pc:docMk/>
            <pc:sldMk cId="635207881" sldId="2147473670"/>
            <ac:spMk id="6" creationId="{81D40E1E-E472-56C2-7A52-1D68B78E001A}"/>
          </ac:spMkLst>
        </pc:spChg>
        <pc:spChg chg="add mod">
          <ac:chgData name="Tường SKHĐT" userId="ab9568c39a88b08a" providerId="LiveId" clId="{24B61DD5-81B7-41F8-A7DC-70CAC367F49C}" dt="2023-06-04T09:09:12.268" v="1677"/>
          <ac:spMkLst>
            <pc:docMk/>
            <pc:sldMk cId="635207881" sldId="2147473670"/>
            <ac:spMk id="7" creationId="{ACBD9817-7C26-4351-4F99-4699D41AD9E3}"/>
          </ac:spMkLst>
        </pc:spChg>
        <pc:spChg chg="mod">
          <ac:chgData name="Tường SKHĐT" userId="ab9568c39a88b08a" providerId="LiveId" clId="{24B61DD5-81B7-41F8-A7DC-70CAC367F49C}" dt="2023-06-04T09:07:17.561" v="1619" actId="1076"/>
          <ac:spMkLst>
            <pc:docMk/>
            <pc:sldMk cId="635207881" sldId="2147473670"/>
            <ac:spMk id="12" creationId="{9770937D-1377-CC7E-CF4C-63302C488F3E}"/>
          </ac:spMkLst>
        </pc:spChg>
        <pc:graphicFrameChg chg="add mod modGraphic">
          <ac:chgData name="Tường SKHĐT" userId="ab9568c39a88b08a" providerId="LiveId" clId="{24B61DD5-81B7-41F8-A7DC-70CAC367F49C}" dt="2023-06-04T09:32:12.951" v="1811"/>
          <ac:graphicFrameMkLst>
            <pc:docMk/>
            <pc:sldMk cId="635207881" sldId="2147473670"/>
            <ac:graphicFrameMk id="2" creationId="{3BF8E8E2-FC7A-766D-120A-12F0136F960F}"/>
          </ac:graphicFrameMkLst>
        </pc:graphicFrameChg>
        <pc:graphicFrameChg chg="add del mod">
          <ac:chgData name="Tường SKHĐT" userId="ab9568c39a88b08a" providerId="LiveId" clId="{24B61DD5-81B7-41F8-A7DC-70CAC367F49C}" dt="2023-06-04T09:12:00.853" v="1781" actId="21"/>
          <ac:graphicFrameMkLst>
            <pc:docMk/>
            <pc:sldMk cId="635207881" sldId="2147473670"/>
            <ac:graphicFrameMk id="4" creationId="{B0A917FD-F858-3B28-3C02-87EEC321932B}"/>
          </ac:graphicFrameMkLst>
        </pc:graphicFrameChg>
        <pc:graphicFrameChg chg="del modGraphic">
          <ac:chgData name="Tường SKHĐT" userId="ab9568c39a88b08a" providerId="LiveId" clId="{24B61DD5-81B7-41F8-A7DC-70CAC367F49C}" dt="2023-06-04T09:07:30.962" v="1624" actId="21"/>
          <ac:graphicFrameMkLst>
            <pc:docMk/>
            <pc:sldMk cId="635207881" sldId="2147473670"/>
            <ac:graphicFrameMk id="8" creationId="{B5E5335D-2EED-82AF-3A59-FAE8BB94EAE1}"/>
          </ac:graphicFrameMkLst>
        </pc:graphicFrameChg>
        <pc:graphicFrameChg chg="add del mod">
          <ac:chgData name="Tường SKHĐT" userId="ab9568c39a88b08a" providerId="LiveId" clId="{24B61DD5-81B7-41F8-A7DC-70CAC367F49C}" dt="2023-06-04T09:18:47.390" v="1784" actId="21"/>
          <ac:graphicFrameMkLst>
            <pc:docMk/>
            <pc:sldMk cId="635207881" sldId="2147473670"/>
            <ac:graphicFrameMk id="9" creationId="{AD4C547D-0890-F667-B1B4-EE787D4267F3}"/>
          </ac:graphicFrameMkLst>
        </pc:graphicFrameChg>
        <pc:graphicFrameChg chg="del mod">
          <ac:chgData name="Tường SKHĐT" userId="ab9568c39a88b08a" providerId="LiveId" clId="{24B61DD5-81B7-41F8-A7DC-70CAC367F49C}" dt="2023-06-04T09:30:49.199" v="1787" actId="21"/>
          <ac:graphicFrameMkLst>
            <pc:docMk/>
            <pc:sldMk cId="635207881" sldId="2147473670"/>
            <ac:graphicFrameMk id="10" creationId="{EE8C5A63-B79A-CA76-8497-BC576CF0BEDE}"/>
          </ac:graphicFrameMkLst>
        </pc:graphicFrameChg>
        <pc:graphicFrameChg chg="mod">
          <ac:chgData name="Tường SKHĐT" userId="ab9568c39a88b08a" providerId="LiveId" clId="{24B61DD5-81B7-41F8-A7DC-70CAC367F49C}" dt="2023-06-05T04:03:47.861" v="3073" actId="1076"/>
          <ac:graphicFrameMkLst>
            <pc:docMk/>
            <pc:sldMk cId="635207881" sldId="2147473670"/>
            <ac:graphicFrameMk id="11" creationId="{8CE30905-28A9-9689-2C3E-6531B00500B9}"/>
          </ac:graphicFrameMkLst>
        </pc:graphicFrameChg>
        <pc:picChg chg="add del mod">
          <ac:chgData name="Tường SKHĐT" userId="ab9568c39a88b08a" providerId="LiveId" clId="{24B61DD5-81B7-41F8-A7DC-70CAC367F49C}" dt="2023-06-04T09:07:27.516" v="1623" actId="21"/>
          <ac:picMkLst>
            <pc:docMk/>
            <pc:sldMk cId="635207881" sldId="2147473670"/>
            <ac:picMk id="3" creationId="{776FD919-070A-24CB-23D4-4A613C48A21B}"/>
          </ac:picMkLst>
        </pc:picChg>
        <pc:picChg chg="del">
          <ac:chgData name="Tường SKHĐT" userId="ab9568c39a88b08a" providerId="LiveId" clId="{24B61DD5-81B7-41F8-A7DC-70CAC367F49C}" dt="2023-06-04T08:14:12.469" v="1135" actId="21"/>
          <ac:picMkLst>
            <pc:docMk/>
            <pc:sldMk cId="635207881" sldId="2147473670"/>
            <ac:picMk id="4" creationId="{6FC098EF-C16A-239A-533E-490FA1A51880}"/>
          </ac:picMkLst>
        </pc:picChg>
      </pc:sldChg>
      <pc:sldChg chg="modSp add mod">
        <pc:chgData name="Tường SKHĐT" userId="ab9568c39a88b08a" providerId="LiveId" clId="{24B61DD5-81B7-41F8-A7DC-70CAC367F49C}" dt="2023-06-05T04:04:08.691" v="3078" actId="20577"/>
        <pc:sldMkLst>
          <pc:docMk/>
          <pc:sldMk cId="2891713991" sldId="2147473682"/>
        </pc:sldMkLst>
        <pc:spChg chg="mod">
          <ac:chgData name="Tường SKHĐT" userId="ab9568c39a88b08a" providerId="LiveId" clId="{24B61DD5-81B7-41F8-A7DC-70CAC367F49C}" dt="2023-06-05T04:02:13.511" v="2878" actId="14100"/>
          <ac:spMkLst>
            <pc:docMk/>
            <pc:sldMk cId="2891713991" sldId="2147473682"/>
            <ac:spMk id="3" creationId="{7DE9C339-0374-CDFA-118B-72A1D05AC25F}"/>
          </ac:spMkLst>
        </pc:spChg>
        <pc:spChg chg="mod">
          <ac:chgData name="Tường SKHĐT" userId="ab9568c39a88b08a" providerId="LiveId" clId="{24B61DD5-81B7-41F8-A7DC-70CAC367F49C}" dt="2023-06-05T03:57:03.768" v="2603" actId="20577"/>
          <ac:spMkLst>
            <pc:docMk/>
            <pc:sldMk cId="2891713991" sldId="2147473682"/>
            <ac:spMk id="8" creationId="{9C784448-56E3-AF56-D992-57722184ED5C}"/>
          </ac:spMkLst>
        </pc:spChg>
        <pc:graphicFrameChg chg="mod modGraphic">
          <ac:chgData name="Tường SKHĐT" userId="ab9568c39a88b08a" providerId="LiveId" clId="{24B61DD5-81B7-41F8-A7DC-70CAC367F49C}" dt="2023-06-05T04:04:08.691" v="3078" actId="20577"/>
          <ac:graphicFrameMkLst>
            <pc:docMk/>
            <pc:sldMk cId="2891713991" sldId="2147473682"/>
            <ac:graphicFrameMk id="4" creationId="{E9D7A4C3-2B51-D193-AED2-C30C6A60473F}"/>
          </ac:graphicFrameMkLst>
        </pc:graphicFrameChg>
      </pc:sldChg>
      <pc:sldChg chg="addSp modSp mod">
        <pc:chgData name="Tường SKHĐT" userId="ab9568c39a88b08a" providerId="LiveId" clId="{24B61DD5-81B7-41F8-A7DC-70CAC367F49C}" dt="2023-06-05T03:36:56.994" v="2333" actId="14100"/>
        <pc:sldMkLst>
          <pc:docMk/>
          <pc:sldMk cId="3956457276" sldId="2147473683"/>
        </pc:sldMkLst>
        <pc:spChg chg="mod">
          <ac:chgData name="Tường SKHĐT" userId="ab9568c39a88b08a" providerId="LiveId" clId="{24B61DD5-81B7-41F8-A7DC-70CAC367F49C}" dt="2023-06-05T03:36:34.429" v="2330" actId="1076"/>
          <ac:spMkLst>
            <pc:docMk/>
            <pc:sldMk cId="3956457276" sldId="2147473683"/>
            <ac:spMk id="2" creationId="{A49FA47D-1679-133E-0301-5CFB76FC4F8D}"/>
          </ac:spMkLst>
        </pc:spChg>
        <pc:spChg chg="add mod">
          <ac:chgData name="Tường SKHĐT" userId="ab9568c39a88b08a" providerId="LiveId" clId="{24B61DD5-81B7-41F8-A7DC-70CAC367F49C}" dt="2023-06-05T03:36:56.994" v="2333" actId="14100"/>
          <ac:spMkLst>
            <pc:docMk/>
            <pc:sldMk cId="3956457276" sldId="2147473683"/>
            <ac:spMk id="5" creationId="{18BC3680-EACE-A4C5-16CE-71CB62F92331}"/>
          </ac:spMkLst>
        </pc:spChg>
      </pc:sldChg>
      <pc:sldChg chg="addSp delSp modSp mod">
        <pc:chgData name="Tường SKHĐT" userId="ab9568c39a88b08a" providerId="LiveId" clId="{24B61DD5-81B7-41F8-A7DC-70CAC367F49C}" dt="2023-06-04T08:16:36.272" v="1144" actId="1076"/>
        <pc:sldMkLst>
          <pc:docMk/>
          <pc:sldMk cId="2676458148" sldId="2147473686"/>
        </pc:sldMkLst>
        <pc:picChg chg="add mod">
          <ac:chgData name="Tường SKHĐT" userId="ab9568c39a88b08a" providerId="LiveId" clId="{24B61DD5-81B7-41F8-A7DC-70CAC367F49C}" dt="2023-06-04T08:16:36.272" v="1144" actId="1076"/>
          <ac:picMkLst>
            <pc:docMk/>
            <pc:sldMk cId="2676458148" sldId="2147473686"/>
            <ac:picMk id="3" creationId="{0B7CA021-09F3-1F33-484C-C8E22C0125A5}"/>
          </ac:picMkLst>
        </pc:picChg>
        <pc:picChg chg="del">
          <ac:chgData name="Tường SKHĐT" userId="ab9568c39a88b08a" providerId="LiveId" clId="{24B61DD5-81B7-41F8-A7DC-70CAC367F49C}" dt="2023-06-04T08:16:28.549" v="1140" actId="21"/>
          <ac:picMkLst>
            <pc:docMk/>
            <pc:sldMk cId="2676458148" sldId="2147473686"/>
            <ac:picMk id="9" creationId="{C87DD715-6CD4-9772-A721-597F4A9A577A}"/>
          </ac:picMkLst>
        </pc:picChg>
      </pc:sldChg>
      <pc:sldChg chg="delSp modSp add mod">
        <pc:chgData name="Tường SKHĐT" userId="ab9568c39a88b08a" providerId="LiveId" clId="{24B61DD5-81B7-41F8-A7DC-70CAC367F49C}" dt="2023-06-05T04:11:49.881" v="3208" actId="21"/>
        <pc:sldMkLst>
          <pc:docMk/>
          <pc:sldMk cId="67746271" sldId="2147473699"/>
        </pc:sldMkLst>
        <pc:spChg chg="mod">
          <ac:chgData name="Tường SKHĐT" userId="ab9568c39a88b08a" providerId="LiveId" clId="{24B61DD5-81B7-41F8-A7DC-70CAC367F49C}" dt="2023-06-05T03:34:02.344" v="2322" actId="14100"/>
          <ac:spMkLst>
            <pc:docMk/>
            <pc:sldMk cId="67746271" sldId="2147473699"/>
            <ac:spMk id="4" creationId="{FEB40E86-96DD-7002-066A-784713A27A1C}"/>
          </ac:spMkLst>
        </pc:spChg>
        <pc:graphicFrameChg chg="del">
          <ac:chgData name="Tường SKHĐT" userId="ab9568c39a88b08a" providerId="LiveId" clId="{24B61DD5-81B7-41F8-A7DC-70CAC367F49C}" dt="2023-06-05T04:11:49.881" v="3208" actId="21"/>
          <ac:graphicFrameMkLst>
            <pc:docMk/>
            <pc:sldMk cId="67746271" sldId="2147473699"/>
            <ac:graphicFrameMk id="3" creationId="{01B941A9-ED1C-3BFD-7430-BFE5F3400A4E}"/>
          </ac:graphicFrameMkLst>
        </pc:graphicFrameChg>
      </pc:sldChg>
      <pc:sldChg chg="del">
        <pc:chgData name="Tường SKHĐT" userId="ab9568c39a88b08a" providerId="LiveId" clId="{24B61DD5-81B7-41F8-A7DC-70CAC367F49C}" dt="2023-06-04T04:32:49.738" v="325" actId="2696"/>
        <pc:sldMkLst>
          <pc:docMk/>
          <pc:sldMk cId="114303837" sldId="2147473702"/>
        </pc:sldMkLst>
      </pc:sldChg>
      <pc:sldChg chg="delSp modSp del mod">
        <pc:chgData name="Tường SKHĐT" userId="ab9568c39a88b08a" providerId="LiveId" clId="{24B61DD5-81B7-41F8-A7DC-70CAC367F49C}" dt="2023-06-05T03:35:55.766" v="2323" actId="2696"/>
        <pc:sldMkLst>
          <pc:docMk/>
          <pc:sldMk cId="571953836" sldId="2147473705"/>
        </pc:sldMkLst>
        <pc:spChg chg="del">
          <ac:chgData name="Tường SKHĐT" userId="ab9568c39a88b08a" providerId="LiveId" clId="{24B61DD5-81B7-41F8-A7DC-70CAC367F49C}" dt="2023-06-04T08:56:34.564" v="1508" actId="21"/>
          <ac:spMkLst>
            <pc:docMk/>
            <pc:sldMk cId="571953836" sldId="2147473705"/>
            <ac:spMk id="5" creationId="{A5E63777-D9B0-CC7C-4534-85577A499B18}"/>
          </ac:spMkLst>
        </pc:spChg>
        <pc:graphicFrameChg chg="mod">
          <ac:chgData name="Tường SKHĐT" userId="ab9568c39a88b08a" providerId="LiveId" clId="{24B61DD5-81B7-41F8-A7DC-70CAC367F49C}" dt="2023-06-04T08:56:42.187" v="1511" actId="14100"/>
          <ac:graphicFrameMkLst>
            <pc:docMk/>
            <pc:sldMk cId="571953836" sldId="2147473705"/>
            <ac:graphicFrameMk id="6" creationId="{00000000-0000-0000-0000-000000000000}"/>
          </ac:graphicFrameMkLst>
        </pc:graphicFrameChg>
        <pc:cxnChg chg="del">
          <ac:chgData name="Tường SKHĐT" userId="ab9568c39a88b08a" providerId="LiveId" clId="{24B61DD5-81B7-41F8-A7DC-70CAC367F49C}" dt="2023-06-04T08:56:36.273" v="1509" actId="21"/>
          <ac:cxnSpMkLst>
            <pc:docMk/>
            <pc:sldMk cId="571953836" sldId="2147473705"/>
            <ac:cxnSpMk id="10" creationId="{9923AE74-1EB9-B8B8-7F10-C195957B00FF}"/>
          </ac:cxnSpMkLst>
        </pc:cxnChg>
      </pc:sldChg>
      <pc:sldChg chg="modSp mod modAnim">
        <pc:chgData name="Tường SKHĐT" userId="ab9568c39a88b08a" providerId="LiveId" clId="{24B61DD5-81B7-41F8-A7DC-70CAC367F49C}" dt="2023-06-05T04:11:23.573" v="3206" actId="1076"/>
        <pc:sldMkLst>
          <pc:docMk/>
          <pc:sldMk cId="1384294736" sldId="2147473707"/>
        </pc:sldMkLst>
        <pc:spChg chg="mod">
          <ac:chgData name="Tường SKHĐT" userId="ab9568c39a88b08a" providerId="LiveId" clId="{24B61DD5-81B7-41F8-A7DC-70CAC367F49C}" dt="2023-06-05T04:11:23.573" v="3206" actId="1076"/>
          <ac:spMkLst>
            <pc:docMk/>
            <pc:sldMk cId="1384294736" sldId="2147473707"/>
            <ac:spMk id="2" creationId="{A49FA47D-1679-133E-0301-5CFB76FC4F8D}"/>
          </ac:spMkLst>
        </pc:spChg>
      </pc:sldChg>
      <pc:sldChg chg="addSp delSp modSp mod">
        <pc:chgData name="Tường SKHĐT" userId="ab9568c39a88b08a" providerId="LiveId" clId="{24B61DD5-81B7-41F8-A7DC-70CAC367F49C}" dt="2023-06-05T03:46:41.678" v="2590" actId="20577"/>
        <pc:sldMkLst>
          <pc:docMk/>
          <pc:sldMk cId="3055150034" sldId="2147473708"/>
        </pc:sldMkLst>
        <pc:spChg chg="mod">
          <ac:chgData name="Tường SKHĐT" userId="ab9568c39a88b08a" providerId="LiveId" clId="{24B61DD5-81B7-41F8-A7DC-70CAC367F49C}" dt="2023-06-05T03:37:09.913" v="2350" actId="1076"/>
          <ac:spMkLst>
            <pc:docMk/>
            <pc:sldMk cId="3055150034" sldId="2147473708"/>
            <ac:spMk id="2" creationId="{A49FA47D-1679-133E-0301-5CFB76FC4F8D}"/>
          </ac:spMkLst>
        </pc:spChg>
        <pc:spChg chg="add mod">
          <ac:chgData name="Tường SKHĐT" userId="ab9568c39a88b08a" providerId="LiveId" clId="{24B61DD5-81B7-41F8-A7DC-70CAC367F49C}" dt="2023-06-05T03:46:41.678" v="2590" actId="20577"/>
          <ac:spMkLst>
            <pc:docMk/>
            <pc:sldMk cId="3055150034" sldId="2147473708"/>
            <ac:spMk id="3" creationId="{973E96D9-4F91-4876-00F3-BF6AFE417E46}"/>
          </ac:spMkLst>
        </pc:spChg>
        <pc:graphicFrameChg chg="mod">
          <ac:chgData name="Tường SKHĐT" userId="ab9568c39a88b08a" providerId="LiveId" clId="{24B61DD5-81B7-41F8-A7DC-70CAC367F49C}" dt="2023-06-05T03:36:23.718" v="2329" actId="1076"/>
          <ac:graphicFrameMkLst>
            <pc:docMk/>
            <pc:sldMk cId="3055150034" sldId="2147473708"/>
            <ac:graphicFrameMk id="6" creationId="{00000000-0000-0000-0000-000000000000}"/>
          </ac:graphicFrameMkLst>
        </pc:graphicFrameChg>
        <pc:picChg chg="mod">
          <ac:chgData name="Tường SKHĐT" userId="ab9568c39a88b08a" providerId="LiveId" clId="{24B61DD5-81B7-41F8-A7DC-70CAC367F49C}" dt="2023-06-05T02:40:38.424" v="2027" actId="14100"/>
          <ac:picMkLst>
            <pc:docMk/>
            <pc:sldMk cId="3055150034" sldId="2147473708"/>
            <ac:picMk id="4" creationId="{2439F62E-2244-A8A0-2D0A-1A7DDA127BB0}"/>
          </ac:picMkLst>
        </pc:picChg>
        <pc:picChg chg="add del mod">
          <ac:chgData name="Tường SKHĐT" userId="ab9568c39a88b08a" providerId="LiveId" clId="{24B61DD5-81B7-41F8-A7DC-70CAC367F49C}" dt="2023-06-05T02:40:41.602" v="2028" actId="1076"/>
          <ac:picMkLst>
            <pc:docMk/>
            <pc:sldMk cId="3055150034" sldId="2147473708"/>
            <ac:picMk id="8" creationId="{00000000-0000-0000-0000-000000000000}"/>
          </ac:picMkLst>
        </pc:picChg>
      </pc:sldChg>
      <pc:sldChg chg="delSp modSp mod">
        <pc:chgData name="Tường SKHĐT" userId="ab9568c39a88b08a" providerId="LiveId" clId="{24B61DD5-81B7-41F8-A7DC-70CAC367F49C}" dt="2023-06-04T08:43:55.066" v="1492" actId="1076"/>
        <pc:sldMkLst>
          <pc:docMk/>
          <pc:sldMk cId="603705395" sldId="2147473711"/>
        </pc:sldMkLst>
        <pc:graphicFrameChg chg="del">
          <ac:chgData name="Tường SKHĐT" userId="ab9568c39a88b08a" providerId="LiveId" clId="{24B61DD5-81B7-41F8-A7DC-70CAC367F49C}" dt="2023-06-04T08:43:31.783" v="1463" actId="21"/>
          <ac:graphicFrameMkLst>
            <pc:docMk/>
            <pc:sldMk cId="603705395" sldId="2147473711"/>
            <ac:graphicFrameMk id="8" creationId="{B84EDBB1-5407-5327-5C47-29B913E467B5}"/>
          </ac:graphicFrameMkLst>
        </pc:graphicFrameChg>
        <pc:graphicFrameChg chg="mod modGraphic">
          <ac:chgData name="Tường SKHĐT" userId="ab9568c39a88b08a" providerId="LiveId" clId="{24B61DD5-81B7-41F8-A7DC-70CAC367F49C}" dt="2023-06-04T08:43:55.066" v="1492" actId="1076"/>
          <ac:graphicFrameMkLst>
            <pc:docMk/>
            <pc:sldMk cId="603705395" sldId="2147473711"/>
            <ac:graphicFrameMk id="10" creationId="{83C0D92A-467E-3F41-0043-586F35EFB2C8}"/>
          </ac:graphicFrameMkLst>
        </pc:graphicFrameChg>
      </pc:sldChg>
      <pc:sldChg chg="delSp modSp del mod">
        <pc:chgData name="Tường SKHĐT" userId="ab9568c39a88b08a" providerId="LiveId" clId="{24B61DD5-81B7-41F8-A7DC-70CAC367F49C}" dt="2023-06-04T04:28:49.367" v="256" actId="2696"/>
        <pc:sldMkLst>
          <pc:docMk/>
          <pc:sldMk cId="1531660894" sldId="2147473731"/>
        </pc:sldMkLst>
        <pc:spChg chg="del">
          <ac:chgData name="Tường SKHĐT" userId="ab9568c39a88b08a" providerId="LiveId" clId="{24B61DD5-81B7-41F8-A7DC-70CAC367F49C}" dt="2023-06-04T04:28:11.673" v="245" actId="478"/>
          <ac:spMkLst>
            <pc:docMk/>
            <pc:sldMk cId="1531660894" sldId="2147473731"/>
            <ac:spMk id="33" creationId="{0959055D-1A0E-234C-9864-D6D0F9E441B4}"/>
          </ac:spMkLst>
        </pc:spChg>
        <pc:spChg chg="del">
          <ac:chgData name="Tường SKHĐT" userId="ab9568c39a88b08a" providerId="LiveId" clId="{24B61DD5-81B7-41F8-A7DC-70CAC367F49C}" dt="2023-06-04T04:28:11.673" v="245" actId="478"/>
          <ac:spMkLst>
            <pc:docMk/>
            <pc:sldMk cId="1531660894" sldId="2147473731"/>
            <ac:spMk id="51" creationId="{E639D5A5-0B2B-2B25-C42F-CD3F6B8CE468}"/>
          </ac:spMkLst>
        </pc:spChg>
        <pc:grpChg chg="del">
          <ac:chgData name="Tường SKHĐT" userId="ab9568c39a88b08a" providerId="LiveId" clId="{24B61DD5-81B7-41F8-A7DC-70CAC367F49C}" dt="2023-06-04T04:28:11.673" v="245" actId="478"/>
          <ac:grpSpMkLst>
            <pc:docMk/>
            <pc:sldMk cId="1531660894" sldId="2147473731"/>
            <ac:grpSpMk id="34" creationId="{E9FF81F2-B8F1-6141-480B-3136065353D9}"/>
          </ac:grpSpMkLst>
        </pc:grpChg>
        <pc:grpChg chg="del">
          <ac:chgData name="Tường SKHĐT" userId="ab9568c39a88b08a" providerId="LiveId" clId="{24B61DD5-81B7-41F8-A7DC-70CAC367F49C}" dt="2023-06-04T04:28:11.673" v="245" actId="478"/>
          <ac:grpSpMkLst>
            <pc:docMk/>
            <pc:sldMk cId="1531660894" sldId="2147473731"/>
            <ac:grpSpMk id="38" creationId="{11D29D9B-8730-3997-C9A4-11315D5FC881}"/>
          </ac:grpSpMkLst>
        </pc:grpChg>
        <pc:grpChg chg="del">
          <ac:chgData name="Tường SKHĐT" userId="ab9568c39a88b08a" providerId="LiveId" clId="{24B61DD5-81B7-41F8-A7DC-70CAC367F49C}" dt="2023-06-04T04:28:11.673" v="245" actId="478"/>
          <ac:grpSpMkLst>
            <pc:docMk/>
            <pc:sldMk cId="1531660894" sldId="2147473731"/>
            <ac:grpSpMk id="41" creationId="{F8F0BB93-27B2-163B-81FF-6B6608C40518}"/>
          </ac:grpSpMkLst>
        </pc:grpChg>
        <pc:grpChg chg="del">
          <ac:chgData name="Tường SKHĐT" userId="ab9568c39a88b08a" providerId="LiveId" clId="{24B61DD5-81B7-41F8-A7DC-70CAC367F49C}" dt="2023-06-04T04:28:11.673" v="245" actId="478"/>
          <ac:grpSpMkLst>
            <pc:docMk/>
            <pc:sldMk cId="1531660894" sldId="2147473731"/>
            <ac:grpSpMk id="46" creationId="{937E3CB8-3528-4025-9B27-90C52F1E8DB0}"/>
          </ac:grpSpMkLst>
        </pc:grpChg>
        <pc:graphicFrameChg chg="mod modGraphic">
          <ac:chgData name="Tường SKHĐT" userId="ab9568c39a88b08a" providerId="LiveId" clId="{24B61DD5-81B7-41F8-A7DC-70CAC367F49C}" dt="2023-06-04T04:28:17.757" v="247" actId="1076"/>
          <ac:graphicFrameMkLst>
            <pc:docMk/>
            <pc:sldMk cId="1531660894" sldId="2147473731"/>
            <ac:graphicFrameMk id="8" creationId="{B5E5335D-2EED-82AF-3A59-FAE8BB94EAE1}"/>
          </ac:graphicFrameMkLst>
        </pc:graphicFrameChg>
        <pc:picChg chg="del">
          <ac:chgData name="Tường SKHĐT" userId="ab9568c39a88b08a" providerId="LiveId" clId="{24B61DD5-81B7-41F8-A7DC-70CAC367F49C}" dt="2023-06-04T04:28:11.673" v="245" actId="478"/>
          <ac:picMkLst>
            <pc:docMk/>
            <pc:sldMk cId="1531660894" sldId="2147473731"/>
            <ac:picMk id="30" creationId="{08AE9AC3-FD57-47BC-AF03-5B008563EF4B}"/>
          </ac:picMkLst>
        </pc:picChg>
        <pc:picChg chg="del">
          <ac:chgData name="Tường SKHĐT" userId="ab9568c39a88b08a" providerId="LiveId" clId="{24B61DD5-81B7-41F8-A7DC-70CAC367F49C}" dt="2023-06-04T04:28:11.673" v="245" actId="478"/>
          <ac:picMkLst>
            <pc:docMk/>
            <pc:sldMk cId="1531660894" sldId="2147473731"/>
            <ac:picMk id="31" creationId="{71CE52F5-FFC8-14D4-FBA2-3FC98A85CCC2}"/>
          </ac:picMkLst>
        </pc:picChg>
        <pc:picChg chg="del">
          <ac:chgData name="Tường SKHĐT" userId="ab9568c39a88b08a" providerId="LiveId" clId="{24B61DD5-81B7-41F8-A7DC-70CAC367F49C}" dt="2023-06-04T04:28:11.673" v="245" actId="478"/>
          <ac:picMkLst>
            <pc:docMk/>
            <pc:sldMk cId="1531660894" sldId="2147473731"/>
            <ac:picMk id="32" creationId="{D60AE9D0-2656-F431-EBC5-CFC3173546E1}"/>
          </ac:picMkLst>
        </pc:picChg>
        <pc:picChg chg="del">
          <ac:chgData name="Tường SKHĐT" userId="ab9568c39a88b08a" providerId="LiveId" clId="{24B61DD5-81B7-41F8-A7DC-70CAC367F49C}" dt="2023-06-04T04:28:11.673" v="245" actId="478"/>
          <ac:picMkLst>
            <pc:docMk/>
            <pc:sldMk cId="1531660894" sldId="2147473731"/>
            <ac:picMk id="45" creationId="{877003C6-7270-3A27-2661-B33D0BFBFE18}"/>
          </ac:picMkLst>
        </pc:picChg>
        <pc:picChg chg="del">
          <ac:chgData name="Tường SKHĐT" userId="ab9568c39a88b08a" providerId="LiveId" clId="{24B61DD5-81B7-41F8-A7DC-70CAC367F49C}" dt="2023-06-04T04:28:11.673" v="245" actId="478"/>
          <ac:picMkLst>
            <pc:docMk/>
            <pc:sldMk cId="1531660894" sldId="2147473731"/>
            <ac:picMk id="50" creationId="{CC057292-7944-31CA-AED4-B1127A7792E6}"/>
          </ac:picMkLst>
        </pc:picChg>
      </pc:sldChg>
      <pc:sldChg chg="modSp mod">
        <pc:chgData name="Tường SKHĐT" userId="ab9568c39a88b08a" providerId="LiveId" clId="{24B61DD5-81B7-41F8-A7DC-70CAC367F49C}" dt="2023-06-04T08:18:41.293" v="1154" actId="20577"/>
        <pc:sldMkLst>
          <pc:docMk/>
          <pc:sldMk cId="2569991023" sldId="2147473733"/>
        </pc:sldMkLst>
        <pc:graphicFrameChg chg="mod modGraphic">
          <ac:chgData name="Tường SKHĐT" userId="ab9568c39a88b08a" providerId="LiveId" clId="{24B61DD5-81B7-41F8-A7DC-70CAC367F49C}" dt="2023-06-04T08:18:41.293" v="1154" actId="20577"/>
          <ac:graphicFrameMkLst>
            <pc:docMk/>
            <pc:sldMk cId="2569991023" sldId="2147473733"/>
            <ac:graphicFrameMk id="8" creationId="{B5E5335D-2EED-82AF-3A59-FAE8BB94EAE1}"/>
          </ac:graphicFrameMkLst>
        </pc:graphicFrameChg>
      </pc:sldChg>
      <pc:sldChg chg="modSp mod">
        <pc:chgData name="Tường SKHĐT" userId="ab9568c39a88b08a" providerId="LiveId" clId="{24B61DD5-81B7-41F8-A7DC-70CAC367F49C}" dt="2023-06-04T08:01:15.963" v="524" actId="1076"/>
        <pc:sldMkLst>
          <pc:docMk/>
          <pc:sldMk cId="1379701318" sldId="2147473734"/>
        </pc:sldMkLst>
        <pc:graphicFrameChg chg="mod modGraphic">
          <ac:chgData name="Tường SKHĐT" userId="ab9568c39a88b08a" providerId="LiveId" clId="{24B61DD5-81B7-41F8-A7DC-70CAC367F49C}" dt="2023-06-04T08:01:15.963" v="524" actId="1076"/>
          <ac:graphicFrameMkLst>
            <pc:docMk/>
            <pc:sldMk cId="1379701318" sldId="2147473734"/>
            <ac:graphicFrameMk id="9" creationId="{0FC7DBA8-03B5-1D5D-B7A1-68AA6F62DF7E}"/>
          </ac:graphicFrameMkLst>
        </pc:graphicFrameChg>
      </pc:sldChg>
      <pc:sldChg chg="delSp modSp mod">
        <pc:chgData name="Tường SKHĐT" userId="ab9568c39a88b08a" providerId="LiveId" clId="{24B61DD5-81B7-41F8-A7DC-70CAC367F49C}" dt="2023-06-04T04:25:06.072" v="237" actId="14100"/>
        <pc:sldMkLst>
          <pc:docMk/>
          <pc:sldMk cId="3474861270" sldId="2147473735"/>
        </pc:sldMkLst>
        <pc:graphicFrameChg chg="del mod">
          <ac:chgData name="Tường SKHĐT" userId="ab9568c39a88b08a" providerId="LiveId" clId="{24B61DD5-81B7-41F8-A7DC-70CAC367F49C}" dt="2023-06-04T04:24:48.513" v="233" actId="21"/>
          <ac:graphicFrameMkLst>
            <pc:docMk/>
            <pc:sldMk cId="3474861270" sldId="2147473735"/>
            <ac:graphicFrameMk id="3" creationId="{BF6EC193-0EB3-09F4-ED89-B813F584F59F}"/>
          </ac:graphicFrameMkLst>
        </pc:graphicFrameChg>
        <pc:graphicFrameChg chg="mod">
          <ac:chgData name="Tường SKHĐT" userId="ab9568c39a88b08a" providerId="LiveId" clId="{24B61DD5-81B7-41F8-A7DC-70CAC367F49C}" dt="2023-06-04T04:25:06.072" v="237" actId="14100"/>
          <ac:graphicFrameMkLst>
            <pc:docMk/>
            <pc:sldMk cId="3474861270" sldId="2147473735"/>
            <ac:graphicFrameMk id="4" creationId="{35F30E1D-6131-F2A7-F567-8AC961E4AE2A}"/>
          </ac:graphicFrameMkLst>
        </pc:graphicFrameChg>
        <pc:picChg chg="mod">
          <ac:chgData name="Tường SKHĐT" userId="ab9568c39a88b08a" providerId="LiveId" clId="{24B61DD5-81B7-41F8-A7DC-70CAC367F49C}" dt="2023-06-04T04:23:40.523" v="228"/>
          <ac:picMkLst>
            <pc:docMk/>
            <pc:sldMk cId="3474861270" sldId="2147473735"/>
            <ac:picMk id="2" creationId="{956FAA40-D79B-C819-F976-4FAE47924C8C}"/>
          </ac:picMkLst>
        </pc:picChg>
        <pc:picChg chg="del">
          <ac:chgData name="Tường SKHĐT" userId="ab9568c39a88b08a" providerId="LiveId" clId="{24B61DD5-81B7-41F8-A7DC-70CAC367F49C}" dt="2023-06-04T04:23:35.307" v="227" actId="21"/>
          <ac:picMkLst>
            <pc:docMk/>
            <pc:sldMk cId="3474861270" sldId="2147473735"/>
            <ac:picMk id="5" creationId="{956FAA40-D79B-C819-F976-4FAE47924C8C}"/>
          </ac:picMkLst>
        </pc:picChg>
      </pc:sldChg>
      <pc:sldChg chg="addSp delSp modSp mod">
        <pc:chgData name="Tường SKHĐT" userId="ab9568c39a88b08a" providerId="LiveId" clId="{24B61DD5-81B7-41F8-A7DC-70CAC367F49C}" dt="2023-06-04T04:28:44.650" v="255" actId="14100"/>
        <pc:sldMkLst>
          <pc:docMk/>
          <pc:sldMk cId="1775073472" sldId="2147473736"/>
        </pc:sldMkLst>
        <pc:graphicFrameChg chg="del">
          <ac:chgData name="Tường SKHĐT" userId="ab9568c39a88b08a" providerId="LiveId" clId="{24B61DD5-81B7-41F8-A7DC-70CAC367F49C}" dt="2023-06-04T04:26:36.517" v="240"/>
          <ac:graphicFrameMkLst>
            <pc:docMk/>
            <pc:sldMk cId="1775073472" sldId="2147473736"/>
            <ac:graphicFrameMk id="2" creationId="{15F9D0C1-B203-9E8E-C12C-73701712E558}"/>
          </ac:graphicFrameMkLst>
        </pc:graphicFrameChg>
        <pc:graphicFrameChg chg="del mod">
          <ac:chgData name="Tường SKHĐT" userId="ab9568c39a88b08a" providerId="LiveId" clId="{24B61DD5-81B7-41F8-A7DC-70CAC367F49C}" dt="2023-06-04T04:27:37.776" v="242" actId="21"/>
          <ac:graphicFrameMkLst>
            <pc:docMk/>
            <pc:sldMk cId="1775073472" sldId="2147473736"/>
            <ac:graphicFrameMk id="4" creationId="{F5155624-911E-4BD4-2179-2752E732848B}"/>
          </ac:graphicFrameMkLst>
        </pc:graphicFrameChg>
        <pc:graphicFrameChg chg="mod">
          <ac:chgData name="Tường SKHĐT" userId="ab9568c39a88b08a" providerId="LiveId" clId="{24B61DD5-81B7-41F8-A7DC-70CAC367F49C}" dt="2023-06-04T04:28:44.650" v="255" actId="14100"/>
          <ac:graphicFrameMkLst>
            <pc:docMk/>
            <pc:sldMk cId="1775073472" sldId="2147473736"/>
            <ac:graphicFrameMk id="5" creationId="{4F59E573-56EE-83D4-0602-CC0366BF17C8}"/>
          </ac:graphicFrameMkLst>
        </pc:graphicFrameChg>
        <pc:graphicFrameChg chg="add mod modGraphic">
          <ac:chgData name="Tường SKHĐT" userId="ab9568c39a88b08a" providerId="LiveId" clId="{24B61DD5-81B7-41F8-A7DC-70CAC367F49C}" dt="2023-06-04T04:28:41.926" v="254" actId="1076"/>
          <ac:graphicFrameMkLst>
            <pc:docMk/>
            <pc:sldMk cId="1775073472" sldId="2147473736"/>
            <ac:graphicFrameMk id="6" creationId="{47027231-95EF-C8CE-4215-B126B807487B}"/>
          </ac:graphicFrameMkLst>
        </pc:graphicFrameChg>
        <pc:picChg chg="del">
          <ac:chgData name="Tường SKHĐT" userId="ab9568c39a88b08a" providerId="LiveId" clId="{24B61DD5-81B7-41F8-A7DC-70CAC367F49C}" dt="2023-06-04T04:26:03.550" v="239" actId="21"/>
          <ac:picMkLst>
            <pc:docMk/>
            <pc:sldMk cId="1775073472" sldId="2147473736"/>
            <ac:picMk id="3" creationId="{5AC2D7C3-E090-4C77-D4E6-88325902E8B7}"/>
          </ac:picMkLst>
        </pc:picChg>
      </pc:sldChg>
      <pc:sldChg chg="addSp delSp modSp mod">
        <pc:chgData name="Tường SKHĐT" userId="ab9568c39a88b08a" providerId="LiveId" clId="{24B61DD5-81B7-41F8-A7DC-70CAC367F49C}" dt="2023-06-04T04:30:36.690" v="270" actId="1076"/>
        <pc:sldMkLst>
          <pc:docMk/>
          <pc:sldMk cId="3744426745" sldId="2147473737"/>
        </pc:sldMkLst>
        <pc:graphicFrameChg chg="del mod">
          <ac:chgData name="Tường SKHĐT" userId="ab9568c39a88b08a" providerId="LiveId" clId="{24B61DD5-81B7-41F8-A7DC-70CAC367F49C}" dt="2023-06-04T04:30:13.522" v="265" actId="21"/>
          <ac:graphicFrameMkLst>
            <pc:docMk/>
            <pc:sldMk cId="3744426745" sldId="2147473737"/>
            <ac:graphicFrameMk id="2" creationId="{7D57F45F-1272-131C-41D5-1545CEE535C9}"/>
          </ac:graphicFrameMkLst>
        </pc:graphicFrameChg>
        <pc:graphicFrameChg chg="add mod modGraphic">
          <ac:chgData name="Tường SKHĐT" userId="ab9568c39a88b08a" providerId="LiveId" clId="{24B61DD5-81B7-41F8-A7DC-70CAC367F49C}" dt="2023-06-04T04:30:36.690" v="270" actId="1076"/>
          <ac:graphicFrameMkLst>
            <pc:docMk/>
            <pc:sldMk cId="3744426745" sldId="2147473737"/>
            <ac:graphicFrameMk id="3" creationId="{1243D2EC-FD70-31EF-486E-0289B57D5A19}"/>
          </ac:graphicFrameMkLst>
        </pc:graphicFrameChg>
        <pc:graphicFrameChg chg="del">
          <ac:chgData name="Tường SKHĐT" userId="ab9568c39a88b08a" providerId="LiveId" clId="{24B61DD5-81B7-41F8-A7DC-70CAC367F49C}" dt="2023-06-04T04:30:18.036" v="266"/>
          <ac:graphicFrameMkLst>
            <pc:docMk/>
            <pc:sldMk cId="3744426745" sldId="2147473737"/>
            <ac:graphicFrameMk id="4" creationId="{6B787520-D013-97AE-CF78-ECF865F08531}"/>
          </ac:graphicFrameMkLst>
        </pc:graphicFrameChg>
        <pc:graphicFrameChg chg="mod">
          <ac:chgData name="Tường SKHĐT" userId="ab9568c39a88b08a" providerId="LiveId" clId="{24B61DD5-81B7-41F8-A7DC-70CAC367F49C}" dt="2023-06-04T04:30:33.300" v="269" actId="14100"/>
          <ac:graphicFrameMkLst>
            <pc:docMk/>
            <pc:sldMk cId="3744426745" sldId="2147473737"/>
            <ac:graphicFrameMk id="5" creationId="{451E805E-275E-1A0E-FDC4-B15B1F672CF6}"/>
          </ac:graphicFrameMkLst>
        </pc:graphicFrameChg>
        <pc:picChg chg="del">
          <ac:chgData name="Tường SKHĐT" userId="ab9568c39a88b08a" providerId="LiveId" clId="{24B61DD5-81B7-41F8-A7DC-70CAC367F49C}" dt="2023-06-04T04:29:13.450" v="257" actId="21"/>
          <ac:picMkLst>
            <pc:docMk/>
            <pc:sldMk cId="3744426745" sldId="2147473737"/>
            <ac:picMk id="7" creationId="{88723A39-7226-0710-ECED-2DFB60814456}"/>
          </ac:picMkLst>
        </pc:picChg>
      </pc:sldChg>
      <pc:sldChg chg="addSp delSp modSp mod">
        <pc:chgData name="Tường SKHĐT" userId="ab9568c39a88b08a" providerId="LiveId" clId="{24B61DD5-81B7-41F8-A7DC-70CAC367F49C}" dt="2023-06-05T03:27:44.646" v="2201" actId="20577"/>
        <pc:sldMkLst>
          <pc:docMk/>
          <pc:sldMk cId="3839081106" sldId="2147473738"/>
        </pc:sldMkLst>
        <pc:spChg chg="mod">
          <ac:chgData name="Tường SKHĐT" userId="ab9568c39a88b08a" providerId="LiveId" clId="{24B61DD5-81B7-41F8-A7DC-70CAC367F49C}" dt="2023-06-05T03:27:32.599" v="2189" actId="20577"/>
          <ac:spMkLst>
            <pc:docMk/>
            <pc:sldMk cId="3839081106" sldId="2147473738"/>
            <ac:spMk id="20" creationId="{394D8737-1CA3-C18F-155A-3F82403D4E3B}"/>
          </ac:spMkLst>
        </pc:spChg>
        <pc:spChg chg="mod">
          <ac:chgData name="Tường SKHĐT" userId="ab9568c39a88b08a" providerId="LiveId" clId="{24B61DD5-81B7-41F8-A7DC-70CAC367F49C}" dt="2023-06-05T03:27:38.445" v="2197" actId="20577"/>
          <ac:spMkLst>
            <pc:docMk/>
            <pc:sldMk cId="3839081106" sldId="2147473738"/>
            <ac:spMk id="27" creationId="{8D0CB480-EC39-4DC1-0353-768C8526261D}"/>
          </ac:spMkLst>
        </pc:spChg>
        <pc:spChg chg="mod">
          <ac:chgData name="Tường SKHĐT" userId="ab9568c39a88b08a" providerId="LiveId" clId="{24B61DD5-81B7-41F8-A7DC-70CAC367F49C}" dt="2023-06-05T03:27:44.646" v="2201" actId="20577"/>
          <ac:spMkLst>
            <pc:docMk/>
            <pc:sldMk cId="3839081106" sldId="2147473738"/>
            <ac:spMk id="28" creationId="{0F9FC2CC-E142-6E69-C8D8-33B29DA66359}"/>
          </ac:spMkLst>
        </pc:spChg>
        <pc:spChg chg="mod">
          <ac:chgData name="Tường SKHĐT" userId="ab9568c39a88b08a" providerId="LiveId" clId="{24B61DD5-81B7-41F8-A7DC-70CAC367F49C}" dt="2023-06-05T03:27:41.734" v="2199" actId="20577"/>
          <ac:spMkLst>
            <pc:docMk/>
            <pc:sldMk cId="3839081106" sldId="2147473738"/>
            <ac:spMk id="29" creationId="{8DD5A653-6B03-584A-539A-C531FCC0C782}"/>
          </ac:spMkLst>
        </pc:spChg>
        <pc:spChg chg="mod">
          <ac:chgData name="Tường SKHĐT" userId="ab9568c39a88b08a" providerId="LiveId" clId="{24B61DD5-81B7-41F8-A7DC-70CAC367F49C}" dt="2023-06-04T08:07:27.565" v="746" actId="404"/>
          <ac:spMkLst>
            <pc:docMk/>
            <pc:sldMk cId="3839081106" sldId="2147473738"/>
            <ac:spMk id="31" creationId="{F63E7A46-F560-1E4C-2CD4-65FEB0E1A690}"/>
          </ac:spMkLst>
        </pc:spChg>
        <pc:spChg chg="mod">
          <ac:chgData name="Tường SKHĐT" userId="ab9568c39a88b08a" providerId="LiveId" clId="{24B61DD5-81B7-41F8-A7DC-70CAC367F49C}" dt="2023-06-04T08:07:13.871" v="739" actId="1076"/>
          <ac:spMkLst>
            <pc:docMk/>
            <pc:sldMk cId="3839081106" sldId="2147473738"/>
            <ac:spMk id="37" creationId="{A633A4AB-4B54-9DFF-1D3F-EE9B0A4D52DA}"/>
          </ac:spMkLst>
        </pc:spChg>
        <pc:spChg chg="del">
          <ac:chgData name="Tường SKHĐT" userId="ab9568c39a88b08a" providerId="LiveId" clId="{24B61DD5-81B7-41F8-A7DC-70CAC367F49C}" dt="2023-06-04T08:06:27.939" v="715" actId="478"/>
          <ac:spMkLst>
            <pc:docMk/>
            <pc:sldMk cId="3839081106" sldId="2147473738"/>
            <ac:spMk id="38" creationId="{FF2CE636-D24D-E952-D91A-2DC1573B5B0B}"/>
          </ac:spMkLst>
        </pc:spChg>
        <pc:spChg chg="del">
          <ac:chgData name="Tường SKHĐT" userId="ab9568c39a88b08a" providerId="LiveId" clId="{24B61DD5-81B7-41F8-A7DC-70CAC367F49C}" dt="2023-06-04T08:06:31.162" v="718" actId="478"/>
          <ac:spMkLst>
            <pc:docMk/>
            <pc:sldMk cId="3839081106" sldId="2147473738"/>
            <ac:spMk id="39" creationId="{82096C86-54EA-BFDB-6C35-61A8AAB5E9E9}"/>
          </ac:spMkLst>
        </pc:spChg>
        <pc:spChg chg="mod">
          <ac:chgData name="Tường SKHĐT" userId="ab9568c39a88b08a" providerId="LiveId" clId="{24B61DD5-81B7-41F8-A7DC-70CAC367F49C}" dt="2023-06-04T08:07:38.939" v="751" actId="1076"/>
          <ac:spMkLst>
            <pc:docMk/>
            <pc:sldMk cId="3839081106" sldId="2147473738"/>
            <ac:spMk id="42" creationId="{533E850C-484F-6D85-E716-06C684F9ABA9}"/>
          </ac:spMkLst>
        </pc:spChg>
        <pc:spChg chg="del">
          <ac:chgData name="Tường SKHĐT" userId="ab9568c39a88b08a" providerId="LiveId" clId="{24B61DD5-81B7-41F8-A7DC-70CAC367F49C}" dt="2023-06-04T08:06:34.235" v="719" actId="21"/>
          <ac:spMkLst>
            <pc:docMk/>
            <pc:sldMk cId="3839081106" sldId="2147473738"/>
            <ac:spMk id="44" creationId="{5E1839A1-AF45-017F-DFD1-C34DB517EE3A}"/>
          </ac:spMkLst>
        </pc:spChg>
        <pc:spChg chg="mod">
          <ac:chgData name="Tường SKHĐT" userId="ab9568c39a88b08a" providerId="LiveId" clId="{24B61DD5-81B7-41F8-A7DC-70CAC367F49C}" dt="2023-06-04T08:07:01.343" v="735" actId="1076"/>
          <ac:spMkLst>
            <pc:docMk/>
            <pc:sldMk cId="3839081106" sldId="2147473738"/>
            <ac:spMk id="46" creationId="{DAD5D991-4CEF-4143-52FE-FD87F16E38D8}"/>
          </ac:spMkLst>
        </pc:spChg>
        <pc:spChg chg="mod">
          <ac:chgData name="Tường SKHĐT" userId="ab9568c39a88b08a" providerId="LiveId" clId="{24B61DD5-81B7-41F8-A7DC-70CAC367F49C}" dt="2023-06-04T08:07:07.343" v="737" actId="1076"/>
          <ac:spMkLst>
            <pc:docMk/>
            <pc:sldMk cId="3839081106" sldId="2147473738"/>
            <ac:spMk id="47" creationId="{615E2FF8-44B4-E5D2-386A-D270D5A07DA1}"/>
          </ac:spMkLst>
        </pc:spChg>
        <pc:spChg chg="mod">
          <ac:chgData name="Tường SKHĐT" userId="ab9568c39a88b08a" providerId="LiveId" clId="{24B61DD5-81B7-41F8-A7DC-70CAC367F49C}" dt="2023-06-04T08:07:10.983" v="738" actId="1076"/>
          <ac:spMkLst>
            <pc:docMk/>
            <pc:sldMk cId="3839081106" sldId="2147473738"/>
            <ac:spMk id="48" creationId="{7D127646-423A-8F39-6355-BB4B258FA23E}"/>
          </ac:spMkLst>
        </pc:spChg>
        <pc:spChg chg="del mod">
          <ac:chgData name="Tường SKHĐT" userId="ab9568c39a88b08a" providerId="LiveId" clId="{24B61DD5-81B7-41F8-A7DC-70CAC367F49C}" dt="2023-06-04T08:06:25.404" v="714" actId="478"/>
          <ac:spMkLst>
            <pc:docMk/>
            <pc:sldMk cId="3839081106" sldId="2147473738"/>
            <ac:spMk id="49" creationId="{AD11AB72-0225-23FC-63B7-476A1B443B45}"/>
          </ac:spMkLst>
        </pc:spChg>
        <pc:spChg chg="del">
          <ac:chgData name="Tường SKHĐT" userId="ab9568c39a88b08a" providerId="LiveId" clId="{24B61DD5-81B7-41F8-A7DC-70CAC367F49C}" dt="2023-06-04T08:06:22.008" v="712" actId="478"/>
          <ac:spMkLst>
            <pc:docMk/>
            <pc:sldMk cId="3839081106" sldId="2147473738"/>
            <ac:spMk id="50" creationId="{8A744C20-0ECB-9A9D-DF51-D7AFAE74AADE}"/>
          </ac:spMkLst>
        </pc:spChg>
        <pc:spChg chg="del">
          <ac:chgData name="Tường SKHĐT" userId="ab9568c39a88b08a" providerId="LiveId" clId="{24B61DD5-81B7-41F8-A7DC-70CAC367F49C}" dt="2023-06-04T08:06:35.202" v="720" actId="478"/>
          <ac:spMkLst>
            <pc:docMk/>
            <pc:sldMk cId="3839081106" sldId="2147473738"/>
            <ac:spMk id="51" creationId="{E85CDCBD-F823-98C8-7D39-4BD8ECC3B707}"/>
          </ac:spMkLst>
        </pc:spChg>
        <pc:spChg chg="mod">
          <ac:chgData name="Tường SKHĐT" userId="ab9568c39a88b08a" providerId="LiveId" clId="{24B61DD5-81B7-41F8-A7DC-70CAC367F49C}" dt="2023-06-04T08:07:17.253" v="740" actId="1076"/>
          <ac:spMkLst>
            <pc:docMk/>
            <pc:sldMk cId="3839081106" sldId="2147473738"/>
            <ac:spMk id="53" creationId="{940E7436-8D16-138B-2BFE-178612083DAB}"/>
          </ac:spMkLst>
        </pc:spChg>
        <pc:grpChg chg="add del">
          <ac:chgData name="Tường SKHĐT" userId="ab9568c39a88b08a" providerId="LiveId" clId="{24B61DD5-81B7-41F8-A7DC-70CAC367F49C}" dt="2023-06-04T08:06:29.955" v="717" actId="478"/>
          <ac:grpSpMkLst>
            <pc:docMk/>
            <pc:sldMk cId="3839081106" sldId="2147473738"/>
            <ac:grpSpMk id="11" creationId="{A056682A-FE84-E5E6-AC49-2B648878C1ED}"/>
          </ac:grpSpMkLst>
        </pc:grpChg>
      </pc:sldChg>
      <pc:sldChg chg="modSp mod">
        <pc:chgData name="Tường SKHĐT" userId="ab9568c39a88b08a" providerId="LiveId" clId="{24B61DD5-81B7-41F8-A7DC-70CAC367F49C}" dt="2023-06-04T08:21:58" v="1307" actId="20577"/>
        <pc:sldMkLst>
          <pc:docMk/>
          <pc:sldMk cId="2648267713" sldId="2147473739"/>
        </pc:sldMkLst>
        <pc:spChg chg="mod">
          <ac:chgData name="Tường SKHĐT" userId="ab9568c39a88b08a" providerId="LiveId" clId="{24B61DD5-81B7-41F8-A7DC-70CAC367F49C}" dt="2023-06-04T08:20:03.913" v="1184" actId="20577"/>
          <ac:spMkLst>
            <pc:docMk/>
            <pc:sldMk cId="2648267713" sldId="2147473739"/>
            <ac:spMk id="3" creationId="{A0D5D58A-756E-802D-A09E-1BEA6D184E77}"/>
          </ac:spMkLst>
        </pc:spChg>
        <pc:spChg chg="mod">
          <ac:chgData name="Tường SKHĐT" userId="ab9568c39a88b08a" providerId="LiveId" clId="{24B61DD5-81B7-41F8-A7DC-70CAC367F49C}" dt="2023-06-04T08:21:53.808" v="1304" actId="20577"/>
          <ac:spMkLst>
            <pc:docMk/>
            <pc:sldMk cId="2648267713" sldId="2147473739"/>
            <ac:spMk id="6" creationId="{81B6DC98-C123-5771-E46D-17ED3EE03739}"/>
          </ac:spMkLst>
        </pc:spChg>
        <pc:spChg chg="mod">
          <ac:chgData name="Tường SKHĐT" userId="ab9568c39a88b08a" providerId="LiveId" clId="{24B61DD5-81B7-41F8-A7DC-70CAC367F49C}" dt="2023-06-04T08:21:52.724" v="1303" actId="688"/>
          <ac:spMkLst>
            <pc:docMk/>
            <pc:sldMk cId="2648267713" sldId="2147473739"/>
            <ac:spMk id="7" creationId="{64BE4B93-62E9-2F63-31E4-4FC00E3A7867}"/>
          </ac:spMkLst>
        </pc:spChg>
        <pc:spChg chg="mod">
          <ac:chgData name="Tường SKHĐT" userId="ab9568c39a88b08a" providerId="LiveId" clId="{24B61DD5-81B7-41F8-A7DC-70CAC367F49C}" dt="2023-06-04T08:21:58" v="1307" actId="20577"/>
          <ac:spMkLst>
            <pc:docMk/>
            <pc:sldMk cId="2648267713" sldId="2147473739"/>
            <ac:spMk id="16" creationId="{CD1FFBD1-4EFA-ED54-8F81-E3C9559069D4}"/>
          </ac:spMkLst>
        </pc:spChg>
        <pc:spChg chg="mod">
          <ac:chgData name="Tường SKHĐT" userId="ab9568c39a88b08a" providerId="LiveId" clId="{24B61DD5-81B7-41F8-A7DC-70CAC367F49C}" dt="2023-06-04T08:18:11.828" v="1145" actId="20577"/>
          <ac:spMkLst>
            <pc:docMk/>
            <pc:sldMk cId="2648267713" sldId="2147473739"/>
            <ac:spMk id="27" creationId="{01DC26C3-E6F4-C27A-8624-3A65D81B6008}"/>
          </ac:spMkLst>
        </pc:spChg>
        <pc:spChg chg="mod">
          <ac:chgData name="Tường SKHĐT" userId="ab9568c39a88b08a" providerId="LiveId" clId="{24B61DD5-81B7-41F8-A7DC-70CAC367F49C}" dt="2023-06-04T08:20:31.784" v="1216" actId="20577"/>
          <ac:spMkLst>
            <pc:docMk/>
            <pc:sldMk cId="2648267713" sldId="2147473739"/>
            <ac:spMk id="720" creationId="{00000000-0000-0000-0000-000000000000}"/>
          </ac:spMkLst>
        </pc:spChg>
        <pc:spChg chg="mod">
          <ac:chgData name="Tường SKHĐT" userId="ab9568c39a88b08a" providerId="LiveId" clId="{24B61DD5-81B7-41F8-A7DC-70CAC367F49C}" dt="2023-06-04T08:20:55.042" v="1254" actId="20577"/>
          <ac:spMkLst>
            <pc:docMk/>
            <pc:sldMk cId="2648267713" sldId="2147473739"/>
            <ac:spMk id="726" creationId="{00000000-0000-0000-0000-000000000000}"/>
          </ac:spMkLst>
        </pc:spChg>
      </pc:sldChg>
      <pc:sldChg chg="addSp delSp modSp add mod">
        <pc:chgData name="Tường SKHĐT" userId="ab9568c39a88b08a" providerId="LiveId" clId="{24B61DD5-81B7-41F8-A7DC-70CAC367F49C}" dt="2023-06-04T04:00:00.048" v="33" actId="14100"/>
        <pc:sldMkLst>
          <pc:docMk/>
          <pc:sldMk cId="845325521" sldId="2147473744"/>
        </pc:sldMkLst>
        <pc:spChg chg="del">
          <ac:chgData name="Tường SKHĐT" userId="ab9568c39a88b08a" providerId="LiveId" clId="{24B61DD5-81B7-41F8-A7DC-70CAC367F49C}" dt="2023-06-04T03:58:18.692" v="2" actId="478"/>
          <ac:spMkLst>
            <pc:docMk/>
            <pc:sldMk cId="845325521" sldId="2147473744"/>
            <ac:spMk id="2" creationId="{FEDE0ACA-73AF-9712-028B-145C8057A697}"/>
          </ac:spMkLst>
        </pc:spChg>
        <pc:spChg chg="mod">
          <ac:chgData name="Tường SKHĐT" userId="ab9568c39a88b08a" providerId="LiveId" clId="{24B61DD5-81B7-41F8-A7DC-70CAC367F49C}" dt="2023-06-04T04:00:00.048" v="33" actId="14100"/>
          <ac:spMkLst>
            <pc:docMk/>
            <pc:sldMk cId="845325521" sldId="2147473744"/>
            <ac:spMk id="4" creationId="{5DDFB1B9-9FA7-5CF0-AB22-DCB06431AEA4}"/>
          </ac:spMkLst>
        </pc:spChg>
        <pc:spChg chg="del">
          <ac:chgData name="Tường SKHĐT" userId="ab9568c39a88b08a" providerId="LiveId" clId="{24B61DD5-81B7-41F8-A7DC-70CAC367F49C}" dt="2023-06-04T03:58:18.692" v="2" actId="478"/>
          <ac:spMkLst>
            <pc:docMk/>
            <pc:sldMk cId="845325521" sldId="2147473744"/>
            <ac:spMk id="5" creationId="{E8A78399-F64E-FDA1-AB56-855ACF72F180}"/>
          </ac:spMkLst>
        </pc:spChg>
        <pc:spChg chg="del">
          <ac:chgData name="Tường SKHĐT" userId="ab9568c39a88b08a" providerId="LiveId" clId="{24B61DD5-81B7-41F8-A7DC-70CAC367F49C}" dt="2023-06-04T03:58:18.692" v="2" actId="478"/>
          <ac:spMkLst>
            <pc:docMk/>
            <pc:sldMk cId="845325521" sldId="2147473744"/>
            <ac:spMk id="6" creationId="{E4ED8AB2-A473-1A88-1EA5-ACE8071989F9}"/>
          </ac:spMkLst>
        </pc:spChg>
        <pc:spChg chg="del">
          <ac:chgData name="Tường SKHĐT" userId="ab9568c39a88b08a" providerId="LiveId" clId="{24B61DD5-81B7-41F8-A7DC-70CAC367F49C}" dt="2023-06-04T03:58:18.692" v="2" actId="478"/>
          <ac:spMkLst>
            <pc:docMk/>
            <pc:sldMk cId="845325521" sldId="2147473744"/>
            <ac:spMk id="7" creationId="{B575D5B7-89E0-566C-C97F-CD98CCE24441}"/>
          </ac:spMkLst>
        </pc:spChg>
        <pc:spChg chg="del">
          <ac:chgData name="Tường SKHĐT" userId="ab9568c39a88b08a" providerId="LiveId" clId="{24B61DD5-81B7-41F8-A7DC-70CAC367F49C}" dt="2023-06-04T03:58:44.261" v="7" actId="21"/>
          <ac:spMkLst>
            <pc:docMk/>
            <pc:sldMk cId="845325521" sldId="2147473744"/>
            <ac:spMk id="12" creationId="{8A67A444-F448-A9A5-7360-DFFFEB3A5F6E}"/>
          </ac:spMkLst>
        </pc:spChg>
        <pc:graphicFrameChg chg="del">
          <ac:chgData name="Tường SKHĐT" userId="ab9568c39a88b08a" providerId="LiveId" clId="{24B61DD5-81B7-41F8-A7DC-70CAC367F49C}" dt="2023-06-04T03:58:16.500" v="1" actId="21"/>
          <ac:graphicFrameMkLst>
            <pc:docMk/>
            <pc:sldMk cId="845325521" sldId="2147473744"/>
            <ac:graphicFrameMk id="9" creationId="{0738877F-56EF-4DEF-B5AA-1664DC8186CF}"/>
          </ac:graphicFrameMkLst>
        </pc:graphicFrameChg>
        <pc:picChg chg="del">
          <ac:chgData name="Tường SKHĐT" userId="ab9568c39a88b08a" providerId="LiveId" clId="{24B61DD5-81B7-41F8-A7DC-70CAC367F49C}" dt="2023-06-04T03:58:50.710" v="8" actId="21"/>
          <ac:picMkLst>
            <pc:docMk/>
            <pc:sldMk cId="845325521" sldId="2147473744"/>
            <ac:picMk id="8" creationId="{F0FF1F18-3F6B-3EBD-B313-8C5EFEE64CE5}"/>
          </ac:picMkLst>
        </pc:picChg>
        <pc:picChg chg="add del mod">
          <ac:chgData name="Tường SKHĐT" userId="ab9568c39a88b08a" providerId="LiveId" clId="{24B61DD5-81B7-41F8-A7DC-70CAC367F49C}" dt="2023-06-04T03:59:35.716" v="10" actId="21"/>
          <ac:picMkLst>
            <pc:docMk/>
            <pc:sldMk cId="845325521" sldId="2147473744"/>
            <ac:picMk id="11" creationId="{D380B584-A7A7-4ABD-4972-F2C59C4F70F1}"/>
          </ac:picMkLst>
        </pc:picChg>
        <pc:picChg chg="add mod">
          <ac:chgData name="Tường SKHĐT" userId="ab9568c39a88b08a" providerId="LiveId" clId="{24B61DD5-81B7-41F8-A7DC-70CAC367F49C}" dt="2023-06-04T03:59:49.939" v="14" actId="14100"/>
          <ac:picMkLst>
            <pc:docMk/>
            <pc:sldMk cId="845325521" sldId="2147473744"/>
            <ac:picMk id="14" creationId="{54589062-7E5F-E6B5-0008-DE4C5F8C8A45}"/>
          </ac:picMkLst>
        </pc:picChg>
      </pc:sldChg>
      <pc:sldChg chg="add del">
        <pc:chgData name="Tường SKHĐT" userId="ab9568c39a88b08a" providerId="LiveId" clId="{24B61DD5-81B7-41F8-A7DC-70CAC367F49C}" dt="2023-06-04T04:25:21.739" v="238" actId="2696"/>
        <pc:sldMkLst>
          <pc:docMk/>
          <pc:sldMk cId="2078258024" sldId="2147473745"/>
        </pc:sldMkLst>
      </pc:sldChg>
      <pc:sldChg chg="delSp modSp add mod">
        <pc:chgData name="Tường SKHĐT" userId="ab9568c39a88b08a" providerId="LiveId" clId="{24B61DD5-81B7-41F8-A7DC-70CAC367F49C}" dt="2023-06-05T02:44:12.597" v="2038" actId="14100"/>
        <pc:sldMkLst>
          <pc:docMk/>
          <pc:sldMk cId="2196586738" sldId="2147473745"/>
        </pc:sldMkLst>
        <pc:graphicFrameChg chg="del mod">
          <ac:chgData name="Tường SKHĐT" userId="ab9568c39a88b08a" providerId="LiveId" clId="{24B61DD5-81B7-41F8-A7DC-70CAC367F49C}" dt="2023-06-05T02:43:56.768" v="2034" actId="21"/>
          <ac:graphicFrameMkLst>
            <pc:docMk/>
            <pc:sldMk cId="2196586738" sldId="2147473745"/>
            <ac:graphicFrameMk id="2" creationId="{6694336C-05C6-2190-E121-A78DE290DA37}"/>
          </ac:graphicFrameMkLst>
        </pc:graphicFrameChg>
        <pc:graphicFrameChg chg="del">
          <ac:chgData name="Tường SKHĐT" userId="ab9568c39a88b08a" providerId="LiveId" clId="{24B61DD5-81B7-41F8-A7DC-70CAC367F49C}" dt="2023-06-04T08:47:19.911" v="1494" actId="21"/>
          <ac:graphicFrameMkLst>
            <pc:docMk/>
            <pc:sldMk cId="2196586738" sldId="2147473745"/>
            <ac:graphicFrameMk id="2" creationId="{FBFFDBCD-49A2-B604-F9E9-B81E95DF4EB5}"/>
          </ac:graphicFrameMkLst>
        </pc:graphicFrameChg>
        <pc:graphicFrameChg chg="del mod">
          <ac:chgData name="Tường SKHĐT" userId="ab9568c39a88b08a" providerId="LiveId" clId="{24B61DD5-81B7-41F8-A7DC-70CAC367F49C}" dt="2023-06-04T08:48:52.642" v="1498" actId="21"/>
          <ac:graphicFrameMkLst>
            <pc:docMk/>
            <pc:sldMk cId="2196586738" sldId="2147473745"/>
            <ac:graphicFrameMk id="4" creationId="{2CFCDAE1-A772-CF2A-4113-D99FB3BE85B8}"/>
          </ac:graphicFrameMkLst>
        </pc:graphicFrameChg>
        <pc:graphicFrameChg chg="mod">
          <ac:chgData name="Tường SKHĐT" userId="ab9568c39a88b08a" providerId="LiveId" clId="{24B61DD5-81B7-41F8-A7DC-70CAC367F49C}" dt="2023-06-05T02:44:12.597" v="2038" actId="14100"/>
          <ac:graphicFrameMkLst>
            <pc:docMk/>
            <pc:sldMk cId="2196586738" sldId="2147473745"/>
            <ac:graphicFrameMk id="4" creationId="{9BF64355-BC13-9BDC-CD65-9C5D898845EB}"/>
          </ac:graphicFrameMkLst>
        </pc:graphicFrameChg>
        <pc:graphicFrameChg chg="del">
          <ac:chgData name="Tường SKHĐT" userId="ab9568c39a88b08a" providerId="LiveId" clId="{24B61DD5-81B7-41F8-A7DC-70CAC367F49C}" dt="2023-06-04T08:48:59.254" v="1499"/>
          <ac:graphicFrameMkLst>
            <pc:docMk/>
            <pc:sldMk cId="2196586738" sldId="2147473745"/>
            <ac:graphicFrameMk id="6" creationId="{E1F87C59-C139-EEFB-3E54-2E802D7C6597}"/>
          </ac:graphicFrameMkLst>
        </pc:graphicFrameChg>
        <pc:graphicFrameChg chg="del mod">
          <ac:chgData name="Tường SKHĐT" userId="ab9568c39a88b08a" providerId="LiveId" clId="{24B61DD5-81B7-41F8-A7DC-70CAC367F49C}" dt="2023-06-04T08:49:25.479" v="1503" actId="21"/>
          <ac:graphicFrameMkLst>
            <pc:docMk/>
            <pc:sldMk cId="2196586738" sldId="2147473745"/>
            <ac:graphicFrameMk id="7" creationId="{81551C0F-898B-1EB4-E2C0-8C9B0D5A3205}"/>
          </ac:graphicFrameMkLst>
        </pc:graphicFrameChg>
        <pc:graphicFrameChg chg="del mod">
          <ac:chgData name="Tường SKHĐT" userId="ab9568c39a88b08a" providerId="LiveId" clId="{24B61DD5-81B7-41F8-A7DC-70CAC367F49C}" dt="2023-06-05T02:42:57.973" v="2030" actId="21"/>
          <ac:graphicFrameMkLst>
            <pc:docMk/>
            <pc:sldMk cId="2196586738" sldId="2147473745"/>
            <ac:graphicFrameMk id="9" creationId="{2D9F7793-855E-A85B-6E04-A69E7450A51D}"/>
          </ac:graphicFrameMkLst>
        </pc:graphicFrameChg>
      </pc:sldChg>
      <pc:sldChg chg="modSp add mod">
        <pc:chgData name="Tường SKHĐT" userId="ab9568c39a88b08a" providerId="LiveId" clId="{24B61DD5-81B7-41F8-A7DC-70CAC367F49C}" dt="2023-06-04T08:49:54.876" v="1506" actId="1076"/>
        <pc:sldMkLst>
          <pc:docMk/>
          <pc:sldMk cId="2114474084" sldId="2147473746"/>
        </pc:sldMkLst>
        <pc:graphicFrameChg chg="mod">
          <ac:chgData name="Tường SKHĐT" userId="ab9568c39a88b08a" providerId="LiveId" clId="{24B61DD5-81B7-41F8-A7DC-70CAC367F49C}" dt="2023-06-04T08:49:54.876" v="1506" actId="1076"/>
          <ac:graphicFrameMkLst>
            <pc:docMk/>
            <pc:sldMk cId="2114474084" sldId="2147473746"/>
            <ac:graphicFrameMk id="2" creationId="{876CA5D3-433C-EA1E-7194-9EB522FA9B54}"/>
          </ac:graphicFrameMkLst>
        </pc:graphicFrameChg>
      </pc:sldChg>
      <pc:sldChg chg="delSp add mod">
        <pc:chgData name="Tường SKHĐT" userId="ab9568c39a88b08a" providerId="LiveId" clId="{24B61DD5-81B7-41F8-A7DC-70CAC367F49C}" dt="2023-06-04T08:55:00.038" v="1507" actId="21"/>
        <pc:sldMkLst>
          <pc:docMk/>
          <pc:sldMk cId="548865208" sldId="2147473747"/>
        </pc:sldMkLst>
        <pc:graphicFrameChg chg="del">
          <ac:chgData name="Tường SKHĐT" userId="ab9568c39a88b08a" providerId="LiveId" clId="{24B61DD5-81B7-41F8-A7DC-70CAC367F49C}" dt="2023-06-04T08:55:00.038" v="1507" actId="21"/>
          <ac:graphicFrameMkLst>
            <pc:docMk/>
            <pc:sldMk cId="548865208" sldId="2147473747"/>
            <ac:graphicFrameMk id="2" creationId="{93199E1A-2E67-A0D0-E47A-D8D7DAF96458}"/>
          </ac:graphicFrameMkLst>
        </pc:graphicFrameChg>
      </pc:sldChg>
      <pc:sldChg chg="add del">
        <pc:chgData name="Tường SKHĐT" userId="ab9568c39a88b08a" providerId="LiveId" clId="{24B61DD5-81B7-41F8-A7DC-70CAC367F49C}" dt="2023-06-04T09:06:44.927" v="1614" actId="2696"/>
        <pc:sldMkLst>
          <pc:docMk/>
          <pc:sldMk cId="608423761" sldId="2147473748"/>
        </pc:sldMkLst>
      </pc:sldChg>
      <pc:sldChg chg="delSp modSp add mod">
        <pc:chgData name="Tường SKHĐT" userId="ab9568c39a88b08a" providerId="LiveId" clId="{24B61DD5-81B7-41F8-A7DC-70CAC367F49C}" dt="2023-06-04T09:38:29.102" v="1880" actId="20577"/>
        <pc:sldMkLst>
          <pc:docMk/>
          <pc:sldMk cId="2148431958" sldId="2147473749"/>
        </pc:sldMkLst>
        <pc:spChg chg="del">
          <ac:chgData name="Tường SKHĐT" userId="ab9568c39a88b08a" providerId="LiveId" clId="{24B61DD5-81B7-41F8-A7DC-70CAC367F49C}" dt="2023-06-04T09:07:04.886" v="1616" actId="21"/>
          <ac:spMkLst>
            <pc:docMk/>
            <pc:sldMk cId="2148431958" sldId="2147473749"/>
            <ac:spMk id="5" creationId="{28347602-FDB0-46C8-29EB-B0A21F5E71F1}"/>
          </ac:spMkLst>
        </pc:spChg>
        <pc:spChg chg="mod">
          <ac:chgData name="Tường SKHĐT" userId="ab9568c39a88b08a" providerId="LiveId" clId="{24B61DD5-81B7-41F8-A7DC-70CAC367F49C}" dt="2023-06-04T09:07:12.673" v="1618" actId="1076"/>
          <ac:spMkLst>
            <pc:docMk/>
            <pc:sldMk cId="2148431958" sldId="2147473749"/>
            <ac:spMk id="6" creationId="{81D40E1E-E472-56C2-7A52-1D68B78E001A}"/>
          </ac:spMkLst>
        </pc:spChg>
        <pc:spChg chg="mod">
          <ac:chgData name="Tường SKHĐT" userId="ab9568c39a88b08a" providerId="LiveId" clId="{24B61DD5-81B7-41F8-A7DC-70CAC367F49C}" dt="2023-06-04T09:07:10.336" v="1617" actId="1076"/>
          <ac:spMkLst>
            <pc:docMk/>
            <pc:sldMk cId="2148431958" sldId="2147473749"/>
            <ac:spMk id="12" creationId="{9770937D-1377-CC7E-CF4C-63302C488F3E}"/>
          </ac:spMkLst>
        </pc:spChg>
        <pc:graphicFrameChg chg="modGraphic">
          <ac:chgData name="Tường SKHĐT" userId="ab9568c39a88b08a" providerId="LiveId" clId="{24B61DD5-81B7-41F8-A7DC-70CAC367F49C}" dt="2023-06-04T09:38:29.102" v="1880" actId="20577"/>
          <ac:graphicFrameMkLst>
            <pc:docMk/>
            <pc:sldMk cId="2148431958" sldId="2147473749"/>
            <ac:graphicFrameMk id="8" creationId="{B5E5335D-2EED-82AF-3A59-FAE8BB94EAE1}"/>
          </ac:graphicFrameMkLst>
        </pc:graphicFrameChg>
      </pc:sldChg>
      <pc:sldChg chg="add del">
        <pc:chgData name="Tường SKHĐT" userId="ab9568c39a88b08a" providerId="LiveId" clId="{24B61DD5-81B7-41F8-A7DC-70CAC367F49C}" dt="2023-06-04T09:08:28.994" v="1675" actId="2696"/>
        <pc:sldMkLst>
          <pc:docMk/>
          <pc:sldMk cId="1573138833" sldId="2147473750"/>
        </pc:sldMkLst>
      </pc:sldChg>
      <pc:sldChg chg="addSp delSp modSp add mod">
        <pc:chgData name="Tường SKHĐT" userId="ab9568c39a88b08a" providerId="LiveId" clId="{24B61DD5-81B7-41F8-A7DC-70CAC367F49C}" dt="2023-06-04T09:38:14.766" v="1864" actId="14100"/>
        <pc:sldMkLst>
          <pc:docMk/>
          <pc:sldMk cId="3695198589" sldId="2147473750"/>
        </pc:sldMkLst>
        <pc:spChg chg="mod">
          <ac:chgData name="Tường SKHĐT" userId="ab9568c39a88b08a" providerId="LiveId" clId="{24B61DD5-81B7-41F8-A7DC-70CAC367F49C}" dt="2023-06-04T09:09:34.172" v="1706" actId="20577"/>
          <ac:spMkLst>
            <pc:docMk/>
            <pc:sldMk cId="3695198589" sldId="2147473750"/>
            <ac:spMk id="7" creationId="{ACBD9817-7C26-4351-4F99-4699D41AD9E3}"/>
          </ac:spMkLst>
        </pc:spChg>
        <pc:graphicFrameChg chg="mod modGraphic">
          <ac:chgData name="Tường SKHĐT" userId="ab9568c39a88b08a" providerId="LiveId" clId="{24B61DD5-81B7-41F8-A7DC-70CAC367F49C}" dt="2023-06-04T09:38:14.766" v="1864" actId="14100"/>
          <ac:graphicFrameMkLst>
            <pc:docMk/>
            <pc:sldMk cId="3695198589" sldId="2147473750"/>
            <ac:graphicFrameMk id="2" creationId="{3BF8E8E2-FC7A-766D-120A-12F0136F960F}"/>
          </ac:graphicFrameMkLst>
        </pc:graphicFrameChg>
        <pc:graphicFrameChg chg="add del mod">
          <ac:chgData name="Tường SKHĐT" userId="ab9568c39a88b08a" providerId="LiveId" clId="{24B61DD5-81B7-41F8-A7DC-70CAC367F49C}" dt="2023-06-04T09:32:59.564" v="1847" actId="21"/>
          <ac:graphicFrameMkLst>
            <pc:docMk/>
            <pc:sldMk cId="3695198589" sldId="2147473750"/>
            <ac:graphicFrameMk id="3" creationId="{F947D0E0-A4E5-BC48-3CCB-9891F91DE888}"/>
          </ac:graphicFrameMkLst>
        </pc:graphicFrameChg>
        <pc:graphicFrameChg chg="del">
          <ac:chgData name="Tường SKHĐT" userId="ab9568c39a88b08a" providerId="LiveId" clId="{24B61DD5-81B7-41F8-A7DC-70CAC367F49C}" dt="2023-06-04T09:11:25.400" v="1778" actId="21"/>
          <ac:graphicFrameMkLst>
            <pc:docMk/>
            <pc:sldMk cId="3695198589" sldId="2147473750"/>
            <ac:graphicFrameMk id="4" creationId="{B0A917FD-F858-3B28-3C02-87EEC321932B}"/>
          </ac:graphicFrameMkLst>
        </pc:graphicFrameChg>
        <pc:graphicFrameChg chg="mod">
          <ac:chgData name="Tường SKHĐT" userId="ab9568c39a88b08a" providerId="LiveId" clId="{24B61DD5-81B7-41F8-A7DC-70CAC367F49C}" dt="2023-06-04T09:38:07.766" v="1853" actId="1076"/>
          <ac:graphicFrameMkLst>
            <pc:docMk/>
            <pc:sldMk cId="3695198589" sldId="2147473750"/>
            <ac:graphicFrameMk id="5" creationId="{37679C12-F1EE-757F-A161-9FA9A285B624}"/>
          </ac:graphicFrameMkLst>
        </pc:graphicFrameChg>
      </pc:sldChg>
      <pc:sldChg chg="addSp delSp modSp add mod">
        <pc:chgData name="Tường SKHĐT" userId="ab9568c39a88b08a" providerId="LiveId" clId="{24B61DD5-81B7-41F8-A7DC-70CAC367F49C}" dt="2023-06-04T09:44:49.817" v="1990" actId="14100"/>
        <pc:sldMkLst>
          <pc:docMk/>
          <pc:sldMk cId="1980939669" sldId="2147473751"/>
        </pc:sldMkLst>
        <pc:spChg chg="add mod">
          <ac:chgData name="Tường SKHĐT" userId="ab9568c39a88b08a" providerId="LiveId" clId="{24B61DD5-81B7-41F8-A7DC-70CAC367F49C}" dt="2023-06-04T09:44:21.391" v="1984" actId="1076"/>
          <ac:spMkLst>
            <pc:docMk/>
            <pc:sldMk cId="1980939669" sldId="2147473751"/>
            <ac:spMk id="3" creationId="{51D74589-AEB4-18BB-5F31-8BEC35C0C01B}"/>
          </ac:spMkLst>
        </pc:spChg>
        <pc:spChg chg="add mod">
          <ac:chgData name="Tường SKHĐT" userId="ab9568c39a88b08a" providerId="LiveId" clId="{24B61DD5-81B7-41F8-A7DC-70CAC367F49C}" dt="2023-06-04T09:44:26.107" v="1986" actId="14100"/>
          <ac:spMkLst>
            <pc:docMk/>
            <pc:sldMk cId="1980939669" sldId="2147473751"/>
            <ac:spMk id="5" creationId="{E845AC93-D73B-4F45-FD1E-D6E30972DA12}"/>
          </ac:spMkLst>
        </pc:spChg>
        <pc:spChg chg="del">
          <ac:chgData name="Tường SKHĐT" userId="ab9568c39a88b08a" providerId="LiveId" clId="{24B61DD5-81B7-41F8-A7DC-70CAC367F49C}" dt="2023-06-04T09:10:35.145" v="1711" actId="21"/>
          <ac:spMkLst>
            <pc:docMk/>
            <pc:sldMk cId="1980939669" sldId="2147473751"/>
            <ac:spMk id="7" creationId="{ACBD9817-7C26-4351-4F99-4699D41AD9E3}"/>
          </ac:spMkLst>
        </pc:spChg>
        <pc:spChg chg="del">
          <ac:chgData name="Tường SKHĐT" userId="ab9568c39a88b08a" providerId="LiveId" clId="{24B61DD5-81B7-41F8-A7DC-70CAC367F49C}" dt="2023-06-04T09:10:41.267" v="1712" actId="21"/>
          <ac:spMkLst>
            <pc:docMk/>
            <pc:sldMk cId="1980939669" sldId="2147473751"/>
            <ac:spMk id="12" creationId="{9770937D-1377-CC7E-CF4C-63302C488F3E}"/>
          </ac:spMkLst>
        </pc:spChg>
        <pc:graphicFrameChg chg="mod modGraphic">
          <ac:chgData name="Tường SKHĐT" userId="ab9568c39a88b08a" providerId="LiveId" clId="{24B61DD5-81B7-41F8-A7DC-70CAC367F49C}" dt="2023-06-04T09:44:29.291" v="1988" actId="14100"/>
          <ac:graphicFrameMkLst>
            <pc:docMk/>
            <pc:sldMk cId="1980939669" sldId="2147473751"/>
            <ac:graphicFrameMk id="2" creationId="{3BF8E8E2-FC7A-766D-120A-12F0136F960F}"/>
          </ac:graphicFrameMkLst>
        </pc:graphicFrameChg>
        <pc:graphicFrameChg chg="del">
          <ac:chgData name="Tường SKHĐT" userId="ab9568c39a88b08a" providerId="LiveId" clId="{24B61DD5-81B7-41F8-A7DC-70CAC367F49C}" dt="2023-06-04T09:11:29.676" v="1779" actId="21"/>
          <ac:graphicFrameMkLst>
            <pc:docMk/>
            <pc:sldMk cId="1980939669" sldId="2147473751"/>
            <ac:graphicFrameMk id="4" creationId="{B0A917FD-F858-3B28-3C02-87EEC321932B}"/>
          </ac:graphicFrameMkLst>
        </pc:graphicFrameChg>
        <pc:graphicFrameChg chg="add del mod">
          <ac:chgData name="Tường SKHĐT" userId="ab9568c39a88b08a" providerId="LiveId" clId="{24B61DD5-81B7-41F8-A7DC-70CAC367F49C}" dt="2023-06-04T09:39:16.339" v="1944" actId="21"/>
          <ac:graphicFrameMkLst>
            <pc:docMk/>
            <pc:sldMk cId="1980939669" sldId="2147473751"/>
            <ac:graphicFrameMk id="6" creationId="{5F498FA1-EDA0-6EB3-7A00-C16767577EC3}"/>
          </ac:graphicFrameMkLst>
        </pc:graphicFrameChg>
        <pc:graphicFrameChg chg="mod">
          <ac:chgData name="Tường SKHĐT" userId="ab9568c39a88b08a" providerId="LiveId" clId="{24B61DD5-81B7-41F8-A7DC-70CAC367F49C}" dt="2023-06-04T09:44:49.817" v="1990" actId="14100"/>
          <ac:graphicFrameMkLst>
            <pc:docMk/>
            <pc:sldMk cId="1980939669" sldId="2147473751"/>
            <ac:graphicFrameMk id="8" creationId="{9254A4BE-B2FE-9F80-DCFF-5586FAD9EA68}"/>
          </ac:graphicFrameMkLst>
        </pc:graphicFrameChg>
      </pc:sldChg>
      <pc:sldChg chg="add del">
        <pc:chgData name="Tường SKHĐT" userId="ab9568c39a88b08a" providerId="LiveId" clId="{24B61DD5-81B7-41F8-A7DC-70CAC367F49C}" dt="2023-06-05T02:14:30.676" v="1995" actId="2696"/>
        <pc:sldMkLst>
          <pc:docMk/>
          <pc:sldMk cId="175139641" sldId="2147473752"/>
        </pc:sldMkLst>
      </pc:sldChg>
      <pc:sldChg chg="add del">
        <pc:chgData name="Tường SKHĐT" userId="ab9568c39a88b08a" providerId="LiveId" clId="{24B61DD5-81B7-41F8-A7DC-70CAC367F49C}" dt="2023-06-05T02:11:37.258" v="1992"/>
        <pc:sldMkLst>
          <pc:docMk/>
          <pc:sldMk cId="318607248" sldId="2147473752"/>
        </pc:sldMkLst>
      </pc:sldChg>
      <pc:sldChg chg="delSp modSp add mod">
        <pc:chgData name="Tường SKHĐT" userId="ab9568c39a88b08a" providerId="LiveId" clId="{24B61DD5-81B7-41F8-A7DC-70CAC367F49C}" dt="2023-06-05T03:17:19.171" v="2136" actId="1076"/>
        <pc:sldMkLst>
          <pc:docMk/>
          <pc:sldMk cId="743790770" sldId="2147473752"/>
        </pc:sldMkLst>
        <pc:spChg chg="mod">
          <ac:chgData name="Tường SKHĐT" userId="ab9568c39a88b08a" providerId="LiveId" clId="{24B61DD5-81B7-41F8-A7DC-70CAC367F49C}" dt="2023-06-05T03:17:11.800" v="2134" actId="20577"/>
          <ac:spMkLst>
            <pc:docMk/>
            <pc:sldMk cId="743790770" sldId="2147473752"/>
            <ac:spMk id="3" creationId="{E2060C7B-D80B-2D4B-6C50-1215E3EA3460}"/>
          </ac:spMkLst>
        </pc:spChg>
        <pc:graphicFrameChg chg="del">
          <ac:chgData name="Tường SKHĐT" userId="ab9568c39a88b08a" providerId="LiveId" clId="{24B61DD5-81B7-41F8-A7DC-70CAC367F49C}" dt="2023-06-05T03:16:31.022" v="2041"/>
          <ac:graphicFrameMkLst>
            <pc:docMk/>
            <pc:sldMk cId="743790770" sldId="2147473752"/>
            <ac:graphicFrameMk id="2" creationId="{95F0D8E5-C11B-891F-86EA-D8B3DF6BC40F}"/>
          </ac:graphicFrameMkLst>
        </pc:graphicFrameChg>
        <pc:graphicFrameChg chg="del">
          <ac:chgData name="Tường SKHĐT" userId="ab9568c39a88b08a" providerId="LiveId" clId="{24B61DD5-81B7-41F8-A7DC-70CAC367F49C}" dt="2023-06-05T03:16:17.613" v="2040" actId="21"/>
          <ac:graphicFrameMkLst>
            <pc:docMk/>
            <pc:sldMk cId="743790770" sldId="2147473752"/>
            <ac:graphicFrameMk id="4" creationId="{9BF64355-BC13-9BDC-CD65-9C5D898845EB}"/>
          </ac:graphicFrameMkLst>
        </pc:graphicFrameChg>
        <pc:graphicFrameChg chg="mod">
          <ac:chgData name="Tường SKHĐT" userId="ab9568c39a88b08a" providerId="LiveId" clId="{24B61DD5-81B7-41F8-A7DC-70CAC367F49C}" dt="2023-06-05T03:17:19.171" v="2136" actId="1076"/>
          <ac:graphicFrameMkLst>
            <pc:docMk/>
            <pc:sldMk cId="743790770" sldId="2147473752"/>
            <ac:graphicFrameMk id="6" creationId="{065CBCFB-3E78-BDBA-FF71-FBF1174154DC}"/>
          </ac:graphicFrameMkLst>
        </pc:graphicFrameChg>
        <pc:cxnChg chg="mod">
          <ac:chgData name="Tường SKHĐT" userId="ab9568c39a88b08a" providerId="LiveId" clId="{24B61DD5-81B7-41F8-A7DC-70CAC367F49C}" dt="2023-06-05T03:17:16.289" v="2135" actId="14100"/>
          <ac:cxnSpMkLst>
            <pc:docMk/>
            <pc:sldMk cId="743790770" sldId="2147473752"/>
            <ac:cxnSpMk id="5" creationId="{B3AFD0A1-EC23-2CD8-C933-80EDD073EC21}"/>
          </ac:cxnSpMkLst>
        </pc:cxnChg>
      </pc:sldChg>
      <pc:sldChg chg="modSp add del">
        <pc:chgData name="Tường SKHĐT" userId="ab9568c39a88b08a" providerId="LiveId" clId="{24B61DD5-81B7-41F8-A7DC-70CAC367F49C}" dt="2023-06-05T03:29:55.130" v="2209" actId="2696"/>
        <pc:sldMkLst>
          <pc:docMk/>
          <pc:sldMk cId="406846084" sldId="2147473753"/>
        </pc:sldMkLst>
        <pc:graphicFrameChg chg="mod">
          <ac:chgData name="Tường SKHĐT" userId="ab9568c39a88b08a" providerId="LiveId" clId="{24B61DD5-81B7-41F8-A7DC-70CAC367F49C}" dt="2023-06-05T03:29:35.701" v="2205" actId="20577"/>
          <ac:graphicFrameMkLst>
            <pc:docMk/>
            <pc:sldMk cId="406846084" sldId="2147473753"/>
            <ac:graphicFrameMk id="6" creationId="{00000000-0000-0000-0000-000000000000}"/>
          </ac:graphicFrameMkLst>
        </pc:graphicFrameChg>
      </pc:sldChg>
      <pc:sldChg chg="modSp add">
        <pc:chgData name="Tường SKHĐT" userId="ab9568c39a88b08a" providerId="LiveId" clId="{24B61DD5-81B7-41F8-A7DC-70CAC367F49C}" dt="2023-06-05T03:33:04.266" v="2271"/>
        <pc:sldMkLst>
          <pc:docMk/>
          <pc:sldMk cId="639639902" sldId="2147473754"/>
        </pc:sldMkLst>
        <pc:graphicFrameChg chg="mod">
          <ac:chgData name="Tường SKHĐT" userId="ab9568c39a88b08a" providerId="LiveId" clId="{24B61DD5-81B7-41F8-A7DC-70CAC367F49C}" dt="2023-06-05T03:33:04.266" v="2271"/>
          <ac:graphicFrameMkLst>
            <pc:docMk/>
            <pc:sldMk cId="639639902" sldId="2147473754"/>
            <ac:graphicFrameMk id="6" creationId="{00000000-0000-0000-0000-000000000000}"/>
          </ac:graphicFrameMkLst>
        </pc:graphicFrameChg>
      </pc:sldChg>
      <pc:sldChg chg="add del">
        <pc:chgData name="Tường SKHĐT" userId="ab9568c39a88b08a" providerId="LiveId" clId="{24B61DD5-81B7-41F8-A7DC-70CAC367F49C}" dt="2023-06-05T03:29:44.546" v="2207"/>
        <pc:sldMkLst>
          <pc:docMk/>
          <pc:sldMk cId="3937824571" sldId="2147473754"/>
        </pc:sldMkLst>
      </pc:sldChg>
      <pc:sldChg chg="modSp add mod">
        <pc:chgData name="Tường SKHĐT" userId="ab9568c39a88b08a" providerId="LiveId" clId="{24B61DD5-81B7-41F8-A7DC-70CAC367F49C}" dt="2023-06-05T04:08:32.236" v="3183" actId="20577"/>
        <pc:sldMkLst>
          <pc:docMk/>
          <pc:sldMk cId="1826314785" sldId="2147473755"/>
        </pc:sldMkLst>
        <pc:spChg chg="mod">
          <ac:chgData name="Tường SKHĐT" userId="ab9568c39a88b08a" providerId="LiveId" clId="{24B61DD5-81B7-41F8-A7DC-70CAC367F49C}" dt="2023-06-05T04:05:55.856" v="3168" actId="1076"/>
          <ac:spMkLst>
            <pc:docMk/>
            <pc:sldMk cId="1826314785" sldId="2147473755"/>
            <ac:spMk id="3" creationId="{7DE9C339-0374-CDFA-118B-72A1D05AC25F}"/>
          </ac:spMkLst>
        </pc:spChg>
        <pc:spChg chg="mod">
          <ac:chgData name="Tường SKHĐT" userId="ab9568c39a88b08a" providerId="LiveId" clId="{24B61DD5-81B7-41F8-A7DC-70CAC367F49C}" dt="2023-06-05T04:05:54.184" v="3167" actId="1076"/>
          <ac:spMkLst>
            <pc:docMk/>
            <pc:sldMk cId="1826314785" sldId="2147473755"/>
            <ac:spMk id="8" creationId="{9C784448-56E3-AF56-D992-57722184ED5C}"/>
          </ac:spMkLst>
        </pc:spChg>
        <pc:graphicFrameChg chg="mod modGraphic">
          <ac:chgData name="Tường SKHĐT" userId="ab9568c39a88b08a" providerId="LiveId" clId="{24B61DD5-81B7-41F8-A7DC-70CAC367F49C}" dt="2023-06-05T04:08:32.236" v="3183" actId="20577"/>
          <ac:graphicFrameMkLst>
            <pc:docMk/>
            <pc:sldMk cId="1826314785" sldId="2147473755"/>
            <ac:graphicFrameMk id="4" creationId="{E9D7A4C3-2B51-D193-AED2-C30C6A60473F}"/>
          </ac:graphicFrameMkLst>
        </pc:graphicFrameChg>
      </pc:sldChg>
      <pc:sldChg chg="add del">
        <pc:chgData name="Tường SKHĐT" userId="ab9568c39a88b08a" providerId="LiveId" clId="{24B61DD5-81B7-41F8-A7DC-70CAC367F49C}" dt="2023-06-05T03:45:56.331" v="2577" actId="2696"/>
        <pc:sldMkLst>
          <pc:docMk/>
          <pc:sldMk cId="1904439737" sldId="2147473755"/>
        </pc:sldMkLst>
      </pc:sldChg>
      <pc:sldChg chg="add del">
        <pc:chgData name="Tường SKHĐT" userId="ab9568c39a88b08a" providerId="LiveId" clId="{24B61DD5-81B7-41F8-A7DC-70CAC367F49C}" dt="2023-06-05T03:29:44.546" v="2207"/>
        <pc:sldMkLst>
          <pc:docMk/>
          <pc:sldMk cId="2324940388" sldId="2147473755"/>
        </pc:sldMkLst>
      </pc:sldChg>
      <pc:sldChg chg="add">
        <pc:chgData name="Tường SKHĐT" userId="ab9568c39a88b08a" providerId="LiveId" clId="{24B61DD5-81B7-41F8-A7DC-70CAC367F49C}" dt="2023-06-05T04:11:46.401" v="3207" actId="2890"/>
        <pc:sldMkLst>
          <pc:docMk/>
          <pc:sldMk cId="2627039055" sldId="2147473756"/>
        </pc:sldMkLst>
      </pc:sldChg>
    </pc:docChg>
  </pc:docChgLst>
  <pc:docChgLst>
    <pc:chgData name="Tường SKHĐT" userId="ab9568c39a88b08a" providerId="LiveId" clId="{3C50980A-2823-4A57-B544-11853B41CA75}"/>
    <pc:docChg chg="undo redo custSel addSld delSld modSld">
      <pc:chgData name="Tường SKHĐT" userId="ab9568c39a88b08a" providerId="LiveId" clId="{3C50980A-2823-4A57-B544-11853B41CA75}" dt="2023-06-09T09:08:46.574" v="1609" actId="2696"/>
      <pc:docMkLst>
        <pc:docMk/>
      </pc:docMkLst>
      <pc:sldChg chg="modSp mod">
        <pc:chgData name="Tường SKHĐT" userId="ab9568c39a88b08a" providerId="LiveId" clId="{3C50980A-2823-4A57-B544-11853B41CA75}" dt="2023-06-08T08:10:52.631" v="106" actId="20577"/>
        <pc:sldMkLst>
          <pc:docMk/>
          <pc:sldMk cId="3788652331" sldId="2147473664"/>
        </pc:sldMkLst>
        <pc:graphicFrameChg chg="mod modGraphic">
          <ac:chgData name="Tường SKHĐT" userId="ab9568c39a88b08a" providerId="LiveId" clId="{3C50980A-2823-4A57-B544-11853B41CA75}" dt="2023-06-08T08:10:52.631" v="106" actId="20577"/>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3C50980A-2823-4A57-B544-11853B41CA75}" dt="2023-06-09T09:07:53.027" v="1608" actId="20577"/>
        <pc:sldMkLst>
          <pc:docMk/>
          <pc:sldMk cId="293803616" sldId="2147473681"/>
        </pc:sldMkLst>
        <pc:graphicFrameChg chg="mod modGraphic">
          <ac:chgData name="Tường SKHĐT" userId="ab9568c39a88b08a" providerId="LiveId" clId="{3C50980A-2823-4A57-B544-11853B41CA75}" dt="2023-06-09T09:07:53.027" v="1608" actId="20577"/>
          <ac:graphicFrameMkLst>
            <pc:docMk/>
            <pc:sldMk cId="293803616" sldId="2147473681"/>
            <ac:graphicFrameMk id="8" creationId="{B5E5335D-2EED-82AF-3A59-FAE8BB94EAE1}"/>
          </ac:graphicFrameMkLst>
        </pc:graphicFrameChg>
        <pc:picChg chg="del">
          <ac:chgData name="Tường SKHĐT" userId="ab9568c39a88b08a" providerId="LiveId" clId="{3C50980A-2823-4A57-B544-11853B41CA75}" dt="2023-06-09T08:57:44.971" v="1519" actId="21"/>
          <ac:picMkLst>
            <pc:docMk/>
            <pc:sldMk cId="293803616" sldId="2147473681"/>
            <ac:picMk id="3" creationId="{9AF740F2-8657-5D2B-1E99-EF2B0034363B}"/>
          </ac:picMkLst>
        </pc:picChg>
        <pc:picChg chg="add mod">
          <ac:chgData name="Tường SKHĐT" userId="ab9568c39a88b08a" providerId="LiveId" clId="{3C50980A-2823-4A57-B544-11853B41CA75}" dt="2023-06-09T08:58:16.775" v="1526" actId="14100"/>
          <ac:picMkLst>
            <pc:docMk/>
            <pc:sldMk cId="293803616" sldId="2147473681"/>
            <ac:picMk id="4" creationId="{2C81FAAE-E980-C8BB-CACB-1B5EBE71F7DE}"/>
          </ac:picMkLst>
        </pc:picChg>
        <pc:picChg chg="mod">
          <ac:chgData name="Tường SKHĐT" userId="ab9568c39a88b08a" providerId="LiveId" clId="{3C50980A-2823-4A57-B544-11853B41CA75}" dt="2023-06-09T08:57:49.091" v="1520" actId="1076"/>
          <ac:picMkLst>
            <pc:docMk/>
            <pc:sldMk cId="293803616" sldId="2147473681"/>
            <ac:picMk id="7" creationId="{5CDE7AB5-FCC7-E08F-A14A-12072FF36A97}"/>
          </ac:picMkLst>
        </pc:picChg>
      </pc:sldChg>
      <pc:sldChg chg="del">
        <pc:chgData name="Tường SKHĐT" userId="ab9568c39a88b08a" providerId="LiveId" clId="{3C50980A-2823-4A57-B544-11853B41CA75}" dt="2023-06-09T08:51:19.780" v="1111" actId="2696"/>
        <pc:sldMkLst>
          <pc:docMk/>
          <pc:sldMk cId="2676458148" sldId="2147473686"/>
        </pc:sldMkLst>
      </pc:sldChg>
      <pc:sldChg chg="modSp mod">
        <pc:chgData name="Tường SKHĐT" userId="ab9568c39a88b08a" providerId="LiveId" clId="{3C50980A-2823-4A57-B544-11853B41CA75}" dt="2023-06-09T08:56:40.620" v="1470" actId="20577"/>
        <pc:sldMkLst>
          <pc:docMk/>
          <pc:sldMk cId="1628374629" sldId="2147473704"/>
        </pc:sldMkLst>
        <pc:graphicFrameChg chg="modGraphic">
          <ac:chgData name="Tường SKHĐT" userId="ab9568c39a88b08a" providerId="LiveId" clId="{3C50980A-2823-4A57-B544-11853B41CA75}" dt="2023-06-09T08:56:40.620" v="1470" actId="20577"/>
          <ac:graphicFrameMkLst>
            <pc:docMk/>
            <pc:sldMk cId="1628374629" sldId="2147473704"/>
            <ac:graphicFrameMk id="2" creationId="{FBFFDBCD-49A2-B604-F9E9-B81E95DF4EB5}"/>
          </ac:graphicFrameMkLst>
        </pc:graphicFrameChg>
      </pc:sldChg>
      <pc:sldChg chg="modSp mod">
        <pc:chgData name="Tường SKHĐT" userId="ab9568c39a88b08a" providerId="LiveId" clId="{3C50980A-2823-4A57-B544-11853B41CA75}" dt="2023-06-08T08:05:35.565" v="34" actId="20577"/>
        <pc:sldMkLst>
          <pc:docMk/>
          <pc:sldMk cId="964652449" sldId="2147473728"/>
        </pc:sldMkLst>
        <pc:graphicFrameChg chg="mod modGraphic">
          <ac:chgData name="Tường SKHĐT" userId="ab9568c39a88b08a" providerId="LiveId" clId="{3C50980A-2823-4A57-B544-11853B41CA75}" dt="2023-06-08T08:05:35.565" v="34" actId="20577"/>
          <ac:graphicFrameMkLst>
            <pc:docMk/>
            <pc:sldMk cId="964652449" sldId="2147473728"/>
            <ac:graphicFrameMk id="5" creationId="{B5E5335D-2EED-82AF-3A59-FAE8BB94EAE1}"/>
          </ac:graphicFrameMkLst>
        </pc:graphicFrameChg>
      </pc:sldChg>
      <pc:sldChg chg="delSp modSp del mod">
        <pc:chgData name="Tường SKHĐT" userId="ab9568c39a88b08a" providerId="LiveId" clId="{3C50980A-2823-4A57-B544-11853B41CA75}" dt="2023-06-08T08:18:58.928" v="559" actId="2696"/>
        <pc:sldMkLst>
          <pc:docMk/>
          <pc:sldMk cId="2114474084" sldId="2147473746"/>
        </pc:sldMkLst>
        <pc:graphicFrameChg chg="del">
          <ac:chgData name="Tường SKHĐT" userId="ab9568c39a88b08a" providerId="LiveId" clId="{3C50980A-2823-4A57-B544-11853B41CA75}" dt="2023-06-08T08:17:21.262" v="549" actId="21"/>
          <ac:graphicFrameMkLst>
            <pc:docMk/>
            <pc:sldMk cId="2114474084" sldId="2147473746"/>
            <ac:graphicFrameMk id="2" creationId="{876CA5D3-433C-EA1E-7194-9EB522FA9B54}"/>
          </ac:graphicFrameMkLst>
        </pc:graphicFrameChg>
        <pc:graphicFrameChg chg="del mod">
          <ac:chgData name="Tường SKHĐT" userId="ab9568c39a88b08a" providerId="LiveId" clId="{3C50980A-2823-4A57-B544-11853B41CA75}" dt="2023-06-08T08:18:01.326" v="553" actId="21"/>
          <ac:graphicFrameMkLst>
            <pc:docMk/>
            <pc:sldMk cId="2114474084" sldId="2147473746"/>
            <ac:graphicFrameMk id="4" creationId="{58F876C8-E265-CFDA-4D8D-66D5F2CCF279}"/>
          </ac:graphicFrameMkLst>
        </pc:graphicFrameChg>
        <pc:graphicFrameChg chg="mod">
          <ac:chgData name="Tường SKHĐT" userId="ab9568c39a88b08a" providerId="LiveId" clId="{3C50980A-2823-4A57-B544-11853B41CA75}" dt="2023-06-08T08:18:09.414" v="554" actId="1076"/>
          <ac:graphicFrameMkLst>
            <pc:docMk/>
            <pc:sldMk cId="2114474084" sldId="2147473746"/>
            <ac:graphicFrameMk id="6" creationId="{617BE745-903D-94A7-E6BF-70FF2808AC0E}"/>
          </ac:graphicFrameMkLst>
        </pc:graphicFrameChg>
      </pc:sldChg>
      <pc:sldChg chg="modSp mod">
        <pc:chgData name="Tường SKHĐT" userId="ab9568c39a88b08a" providerId="LiveId" clId="{3C50980A-2823-4A57-B544-11853B41CA75}" dt="2023-06-09T08:50:49.299" v="1109" actId="20577"/>
        <pc:sldMkLst>
          <pc:docMk/>
          <pc:sldMk cId="1980939669" sldId="2147473751"/>
        </pc:sldMkLst>
        <pc:graphicFrameChg chg="modGraphic">
          <ac:chgData name="Tường SKHĐT" userId="ab9568c39a88b08a" providerId="LiveId" clId="{3C50980A-2823-4A57-B544-11853B41CA75}" dt="2023-06-09T08:50:49.299" v="1109" actId="20577"/>
          <ac:graphicFrameMkLst>
            <pc:docMk/>
            <pc:sldMk cId="1980939669" sldId="2147473751"/>
            <ac:graphicFrameMk id="4" creationId="{9F8BA5CC-ECD9-7097-9746-4017ADAF9292}"/>
          </ac:graphicFrameMkLst>
        </pc:graphicFrameChg>
      </pc:sldChg>
      <pc:sldChg chg="modSp mod">
        <pc:chgData name="Tường SKHĐT" userId="ab9568c39a88b08a" providerId="LiveId" clId="{3C50980A-2823-4A57-B544-11853B41CA75}" dt="2023-06-08T08:06:23.121" v="36" actId="1036"/>
        <pc:sldMkLst>
          <pc:docMk/>
          <pc:sldMk cId="2710295661" sldId="2147473788"/>
        </pc:sldMkLst>
        <pc:graphicFrameChg chg="mod">
          <ac:chgData name="Tường SKHĐT" userId="ab9568c39a88b08a" providerId="LiveId" clId="{3C50980A-2823-4A57-B544-11853B41CA75}" dt="2023-06-08T08:06:23.121" v="36" actId="1036"/>
          <ac:graphicFrameMkLst>
            <pc:docMk/>
            <pc:sldMk cId="2710295661" sldId="2147473788"/>
            <ac:graphicFrameMk id="2" creationId="{0C996FA6-9C08-A387-356B-3D6804031C5B}"/>
          </ac:graphicFrameMkLst>
        </pc:graphicFrameChg>
      </pc:sldChg>
      <pc:sldChg chg="modSp mod">
        <pc:chgData name="Tường SKHĐT" userId="ab9568c39a88b08a" providerId="LiveId" clId="{3C50980A-2823-4A57-B544-11853B41CA75}" dt="2023-06-08T08:06:34.196" v="37" actId="1076"/>
        <pc:sldMkLst>
          <pc:docMk/>
          <pc:sldMk cId="1616590400" sldId="2147473793"/>
        </pc:sldMkLst>
        <pc:spChg chg="mod">
          <ac:chgData name="Tường SKHĐT" userId="ab9568c39a88b08a" providerId="LiveId" clId="{3C50980A-2823-4A57-B544-11853B41CA75}" dt="2023-06-08T08:06:34.196" v="37" actId="1076"/>
          <ac:spMkLst>
            <pc:docMk/>
            <pc:sldMk cId="1616590400" sldId="2147473793"/>
            <ac:spMk id="2" creationId="{BB7D8E9C-B3F6-DD25-25B6-76818EE92AE6}"/>
          </ac:spMkLst>
        </pc:spChg>
        <pc:graphicFrameChg chg="modGraphic">
          <ac:chgData name="Tường SKHĐT" userId="ab9568c39a88b08a" providerId="LiveId" clId="{3C50980A-2823-4A57-B544-11853B41CA75}" dt="2023-06-08T07:55:13.853" v="11" actId="20577"/>
          <ac:graphicFrameMkLst>
            <pc:docMk/>
            <pc:sldMk cId="1616590400" sldId="2147473793"/>
            <ac:graphicFrameMk id="3" creationId="{2B60E389-3C15-E216-2343-FACD1755B5AD}"/>
          </ac:graphicFrameMkLst>
        </pc:graphicFrameChg>
      </pc:sldChg>
      <pc:sldChg chg="modSp mod">
        <pc:chgData name="Tường SKHĐT" userId="ab9568c39a88b08a" providerId="LiveId" clId="{3C50980A-2823-4A57-B544-11853B41CA75}" dt="2023-06-09T02:13:56.457" v="1103" actId="11"/>
        <pc:sldMkLst>
          <pc:docMk/>
          <pc:sldMk cId="2895207599" sldId="2147473794"/>
        </pc:sldMkLst>
        <pc:spChg chg="mod">
          <ac:chgData name="Tường SKHĐT" userId="ab9568c39a88b08a" providerId="LiveId" clId="{3C50980A-2823-4A57-B544-11853B41CA75}" dt="2023-06-08T07:52:23.107" v="2" actId="1076"/>
          <ac:spMkLst>
            <pc:docMk/>
            <pc:sldMk cId="2895207599" sldId="2147473794"/>
            <ac:spMk id="2" creationId="{BB7D8E9C-B3F6-DD25-25B6-76818EE92AE6}"/>
          </ac:spMkLst>
        </pc:spChg>
        <pc:graphicFrameChg chg="mod modGraphic">
          <ac:chgData name="Tường SKHĐT" userId="ab9568c39a88b08a" providerId="LiveId" clId="{3C50980A-2823-4A57-B544-11853B41CA75}" dt="2023-06-09T02:13:56.457" v="1103" actId="11"/>
          <ac:graphicFrameMkLst>
            <pc:docMk/>
            <pc:sldMk cId="2895207599" sldId="2147473794"/>
            <ac:graphicFrameMk id="3" creationId="{2B60E389-3C15-E216-2343-FACD1755B5AD}"/>
          </ac:graphicFrameMkLst>
        </pc:graphicFrameChg>
      </pc:sldChg>
      <pc:sldChg chg="modSp mod">
        <pc:chgData name="Tường SKHĐT" userId="ab9568c39a88b08a" providerId="LiveId" clId="{3C50980A-2823-4A57-B544-11853B41CA75}" dt="2023-06-09T08:51:52.321" v="1118" actId="20577"/>
        <pc:sldMkLst>
          <pc:docMk/>
          <pc:sldMk cId="2339715236" sldId="2147473795"/>
        </pc:sldMkLst>
        <pc:spChg chg="mod">
          <ac:chgData name="Tường SKHĐT" userId="ab9568c39a88b08a" providerId="LiveId" clId="{3C50980A-2823-4A57-B544-11853B41CA75}" dt="2023-06-09T08:51:52.321" v="1118" actId="20577"/>
          <ac:spMkLst>
            <pc:docMk/>
            <pc:sldMk cId="2339715236" sldId="2147473795"/>
            <ac:spMk id="9" creationId="{58F24AD0-F007-A590-583C-27B1A4CE0310}"/>
          </ac:spMkLst>
        </pc:spChg>
      </pc:sldChg>
      <pc:sldChg chg="delSp modSp add mod">
        <pc:chgData name="Tường SKHĐT" userId="ab9568c39a88b08a" providerId="LiveId" clId="{3C50980A-2823-4A57-B544-11853B41CA75}" dt="2023-06-08T08:18:54.527" v="558" actId="1076"/>
        <pc:sldMkLst>
          <pc:docMk/>
          <pc:sldMk cId="1326740925" sldId="2147473796"/>
        </pc:sldMkLst>
        <pc:graphicFrameChg chg="del">
          <ac:chgData name="Tường SKHĐT" userId="ab9568c39a88b08a" providerId="LiveId" clId="{3C50980A-2823-4A57-B544-11853B41CA75}" dt="2023-06-08T08:18:33.301" v="555" actId="21"/>
          <ac:graphicFrameMkLst>
            <pc:docMk/>
            <pc:sldMk cId="1326740925" sldId="2147473796"/>
            <ac:graphicFrameMk id="2" creationId="{876CA5D3-433C-EA1E-7194-9EB522FA9B54}"/>
          </ac:graphicFrameMkLst>
        </pc:graphicFrameChg>
        <pc:graphicFrameChg chg="del mod">
          <ac:chgData name="Tường SKHĐT" userId="ab9568c39a88b08a" providerId="LiveId" clId="{3C50980A-2823-4A57-B544-11853B41CA75}" dt="2023-06-08T08:18:45.677" v="557" actId="21"/>
          <ac:graphicFrameMkLst>
            <pc:docMk/>
            <pc:sldMk cId="1326740925" sldId="2147473796"/>
            <ac:graphicFrameMk id="4" creationId="{ACC29D68-47AA-B73C-DB91-D5EB422A41B7}"/>
          </ac:graphicFrameMkLst>
        </pc:graphicFrameChg>
        <pc:graphicFrameChg chg="mod">
          <ac:chgData name="Tường SKHĐT" userId="ab9568c39a88b08a" providerId="LiveId" clId="{3C50980A-2823-4A57-B544-11853B41CA75}" dt="2023-06-08T08:18:54.527" v="558" actId="1076"/>
          <ac:graphicFrameMkLst>
            <pc:docMk/>
            <pc:sldMk cId="1326740925" sldId="2147473796"/>
            <ac:graphicFrameMk id="6" creationId="{05B8F3CC-E373-3C53-E1F6-46E71BC4B5E0}"/>
          </ac:graphicFrameMkLst>
        </pc:graphicFrameChg>
      </pc:sldChg>
      <pc:sldChg chg="addSp delSp modSp add del mod">
        <pc:chgData name="Tường SKHĐT" userId="ab9568c39a88b08a" providerId="LiveId" clId="{3C50980A-2823-4A57-B544-11853B41CA75}" dt="2023-06-09T09:08:46.574" v="1609" actId="2696"/>
        <pc:sldMkLst>
          <pc:docMk/>
          <pc:sldMk cId="3876756782" sldId="2147473797"/>
        </pc:sldMkLst>
        <pc:spChg chg="mod">
          <ac:chgData name="Tường SKHĐT" userId="ab9568c39a88b08a" providerId="LiveId" clId="{3C50980A-2823-4A57-B544-11853B41CA75}" dt="2023-06-09T00:39:10.543" v="583" actId="1076"/>
          <ac:spMkLst>
            <pc:docMk/>
            <pc:sldMk cId="3876756782" sldId="2147473797"/>
            <ac:spMk id="9" creationId="{58F24AD0-F007-A590-583C-27B1A4CE0310}"/>
          </ac:spMkLst>
        </pc:spChg>
        <pc:graphicFrameChg chg="add del mod">
          <ac:chgData name="Tường SKHĐT" userId="ab9568c39a88b08a" providerId="LiveId" clId="{3C50980A-2823-4A57-B544-11853B41CA75}" dt="2023-06-09T00:38:16.753" v="566"/>
          <ac:graphicFrameMkLst>
            <pc:docMk/>
            <pc:sldMk cId="3876756782" sldId="2147473797"/>
            <ac:graphicFrameMk id="2" creationId="{FBCE9CAC-32D3-C78A-A6D5-774F38C95800}"/>
          </ac:graphicFrameMkLst>
        </pc:graphicFrameChg>
        <pc:graphicFrameChg chg="mod modGraphic">
          <ac:chgData name="Tường SKHĐT" userId="ab9568c39a88b08a" providerId="LiveId" clId="{3C50980A-2823-4A57-B544-11853B41CA75}" dt="2023-06-09T00:42:07.953" v="762"/>
          <ac:graphicFrameMkLst>
            <pc:docMk/>
            <pc:sldMk cId="3876756782" sldId="2147473797"/>
            <ac:graphicFrameMk id="3" creationId="{1243D2EC-FD70-31EF-486E-0289B57D5A19}"/>
          </ac:graphicFrameMkLst>
        </pc:graphicFrameChg>
        <pc:graphicFrameChg chg="del">
          <ac:chgData name="Tường SKHĐT" userId="ab9568c39a88b08a" providerId="LiveId" clId="{3C50980A-2823-4A57-B544-11853B41CA75}" dt="2023-06-09T00:38:09.297" v="561" actId="21"/>
          <ac:graphicFrameMkLst>
            <pc:docMk/>
            <pc:sldMk cId="3876756782" sldId="2147473797"/>
            <ac:graphicFrameMk id="5" creationId="{451E805E-275E-1A0E-FDC4-B15B1F672CF6}"/>
          </ac:graphicFrameMkLst>
        </pc:graphicFrameChg>
      </pc:sldChg>
      <pc:sldChg chg="modSp add del mod">
        <pc:chgData name="Tường SKHĐT" userId="ab9568c39a88b08a" providerId="LiveId" clId="{3C50980A-2823-4A57-B544-11853B41CA75}" dt="2023-06-09T08:51:48.869" v="1116" actId="2696"/>
        <pc:sldMkLst>
          <pc:docMk/>
          <pc:sldMk cId="2645109266" sldId="2147473798"/>
        </pc:sldMkLst>
        <pc:spChg chg="mod">
          <ac:chgData name="Tường SKHĐT" userId="ab9568c39a88b08a" providerId="LiveId" clId="{3C50980A-2823-4A57-B544-11853B41CA75}" dt="2023-06-09T00:42:22.974" v="765" actId="20577"/>
          <ac:spMkLst>
            <pc:docMk/>
            <pc:sldMk cId="2645109266" sldId="2147473798"/>
            <ac:spMk id="9" creationId="{58F24AD0-F007-A590-583C-27B1A4CE0310}"/>
          </ac:spMkLst>
        </pc:spChg>
        <pc:graphicFrameChg chg="mod modGraphic">
          <ac:chgData name="Tường SKHĐT" userId="ab9568c39a88b08a" providerId="LiveId" clId="{3C50980A-2823-4A57-B544-11853B41CA75}" dt="2023-06-09T00:42:12.519" v="763" actId="108"/>
          <ac:graphicFrameMkLst>
            <pc:docMk/>
            <pc:sldMk cId="2645109266" sldId="2147473798"/>
            <ac:graphicFrameMk id="3" creationId="{1243D2EC-FD70-31EF-486E-0289B57D5A19}"/>
          </ac:graphicFrameMkLst>
        </pc:graphicFrameChg>
      </pc:sldChg>
      <pc:sldChg chg="addSp delSp modSp add mod">
        <pc:chgData name="Tường SKHĐT" userId="ab9568c39a88b08a" providerId="LiveId" clId="{3C50980A-2823-4A57-B544-11853B41CA75}" dt="2023-06-09T08:56:06.402" v="1420" actId="1076"/>
        <pc:sldMkLst>
          <pc:docMk/>
          <pc:sldMk cId="3334048373" sldId="2147473799"/>
        </pc:sldMkLst>
        <pc:spChg chg="add mod">
          <ac:chgData name="Tường SKHĐT" userId="ab9568c39a88b08a" providerId="LiveId" clId="{3C50980A-2823-4A57-B544-11853B41CA75}" dt="2023-06-09T08:51:30.013" v="1113"/>
          <ac:spMkLst>
            <pc:docMk/>
            <pc:sldMk cId="3334048373" sldId="2147473799"/>
            <ac:spMk id="2" creationId="{D6387476-2546-785C-CFDD-8BF4E6FF3F9C}"/>
          </ac:spMkLst>
        </pc:spChg>
        <pc:spChg chg="add mod">
          <ac:chgData name="Tường SKHĐT" userId="ab9568c39a88b08a" providerId="LiveId" clId="{3C50980A-2823-4A57-B544-11853B41CA75}" dt="2023-06-09T08:51:30.013" v="1113"/>
          <ac:spMkLst>
            <pc:docMk/>
            <pc:sldMk cId="3334048373" sldId="2147473799"/>
            <ac:spMk id="4" creationId="{46B6E1F4-F206-B042-DDA5-71C9CBE1810E}"/>
          </ac:spMkLst>
        </pc:spChg>
        <pc:spChg chg="del mod">
          <ac:chgData name="Tường SKHĐT" userId="ab9568c39a88b08a" providerId="LiveId" clId="{3C50980A-2823-4A57-B544-11853B41CA75}" dt="2023-06-09T08:51:42.448" v="1115" actId="21"/>
          <ac:spMkLst>
            <pc:docMk/>
            <pc:sldMk cId="3334048373" sldId="2147473799"/>
            <ac:spMk id="9" creationId="{58F24AD0-F007-A590-583C-27B1A4CE0310}"/>
          </ac:spMkLst>
        </pc:spChg>
        <pc:graphicFrameChg chg="mod modGraphic">
          <ac:chgData name="Tường SKHĐT" userId="ab9568c39a88b08a" providerId="LiveId" clId="{3C50980A-2823-4A57-B544-11853B41CA75}" dt="2023-06-09T08:56:06.402" v="1420" actId="1076"/>
          <ac:graphicFrameMkLst>
            <pc:docMk/>
            <pc:sldMk cId="3334048373" sldId="2147473799"/>
            <ac:graphicFrameMk id="3" creationId="{1243D2EC-FD70-31EF-486E-0289B57D5A19}"/>
          </ac:graphicFrameMkLst>
        </pc:graphicFrameChg>
      </pc:sldChg>
    </pc:docChg>
  </pc:docChgLst>
  <pc:docChgLst>
    <pc:chgData name="Bình Nguyễn Thị" userId="cc7b680b2034ed09" providerId="LiveId" clId="{531713A6-0570-4CC1-A926-11950A7985C8}"/>
    <pc:docChg chg="custSel modSld">
      <pc:chgData name="Bình Nguyễn Thị" userId="cc7b680b2034ed09" providerId="LiveId" clId="{531713A6-0570-4CC1-A926-11950A7985C8}" dt="2023-04-03T06:36:45.251" v="127" actId="5793"/>
      <pc:docMkLst>
        <pc:docMk/>
      </pc:docMkLst>
      <pc:sldChg chg="modSp mod">
        <pc:chgData name="Bình Nguyễn Thị" userId="cc7b680b2034ed09" providerId="LiveId" clId="{531713A6-0570-4CC1-A926-11950A7985C8}" dt="2023-04-03T06:27:46.965" v="62" actId="2711"/>
        <pc:sldMkLst>
          <pc:docMk/>
          <pc:sldMk cId="2891869655" sldId="2147473659"/>
        </pc:sldMkLst>
        <pc:spChg chg="mod">
          <ac:chgData name="Bình Nguyễn Thị" userId="cc7b680b2034ed09" providerId="LiveId" clId="{531713A6-0570-4CC1-A926-11950A7985C8}" dt="2023-04-03T06:27:46.965" v="62" actId="2711"/>
          <ac:spMkLst>
            <pc:docMk/>
            <pc:sldMk cId="2891869655" sldId="2147473659"/>
            <ac:spMk id="10" creationId="{2BEC6149-D931-9E5A-A070-24E0578F3267}"/>
          </ac:spMkLst>
        </pc:spChg>
      </pc:sldChg>
      <pc:sldChg chg="modSp mod">
        <pc:chgData name="Bình Nguyễn Thị" userId="cc7b680b2034ed09" providerId="LiveId" clId="{531713A6-0570-4CC1-A926-11950A7985C8}" dt="2023-04-03T06:28:05.773" v="63"/>
        <pc:sldMkLst>
          <pc:docMk/>
          <pc:sldMk cId="3797015765" sldId="2147473661"/>
        </pc:sldMkLst>
        <pc:spChg chg="mod">
          <ac:chgData name="Bình Nguyễn Thị" userId="cc7b680b2034ed09" providerId="LiveId" clId="{531713A6-0570-4CC1-A926-11950A7985C8}" dt="2023-04-03T06:28:05.773" v="63"/>
          <ac:spMkLst>
            <pc:docMk/>
            <pc:sldMk cId="3797015765" sldId="2147473661"/>
            <ac:spMk id="7" creationId="{CA70BC92-6CA9-4A1F-4B61-29A46D2A51FE}"/>
          </ac:spMkLst>
        </pc:spChg>
      </pc:sldChg>
      <pc:sldChg chg="modSp mod">
        <pc:chgData name="Bình Nguyễn Thị" userId="cc7b680b2034ed09" providerId="LiveId" clId="{531713A6-0570-4CC1-A926-11950A7985C8}" dt="2023-04-03T06:28:21.671" v="65" actId="14100"/>
        <pc:sldMkLst>
          <pc:docMk/>
          <pc:sldMk cId="3847146912" sldId="2147473680"/>
        </pc:sldMkLst>
        <pc:spChg chg="mod">
          <ac:chgData name="Bình Nguyễn Thị" userId="cc7b680b2034ed09" providerId="LiveId" clId="{531713A6-0570-4CC1-A926-11950A7985C8}" dt="2023-04-03T06:28:21.671" v="65" actId="14100"/>
          <ac:spMkLst>
            <pc:docMk/>
            <pc:sldMk cId="3847146912" sldId="2147473680"/>
            <ac:spMk id="7" creationId="{CA70BC92-6CA9-4A1F-4B61-29A46D2A51FE}"/>
          </ac:spMkLst>
        </pc:spChg>
      </pc:sldChg>
      <pc:sldChg chg="modSp mod">
        <pc:chgData name="Bình Nguyễn Thị" userId="cc7b680b2034ed09" providerId="LiveId" clId="{531713A6-0570-4CC1-A926-11950A7985C8}" dt="2023-04-03T06:28:42.645" v="68" actId="14100"/>
        <pc:sldMkLst>
          <pc:docMk/>
          <pc:sldMk cId="4134250126" sldId="2147473697"/>
        </pc:sldMkLst>
        <pc:spChg chg="mod">
          <ac:chgData name="Bình Nguyễn Thị" userId="cc7b680b2034ed09" providerId="LiveId" clId="{531713A6-0570-4CC1-A926-11950A7985C8}" dt="2023-04-03T06:28:42.645" v="68" actId="14100"/>
          <ac:spMkLst>
            <pc:docMk/>
            <pc:sldMk cId="4134250126" sldId="2147473697"/>
            <ac:spMk id="7" creationId="{380011C1-5942-C1D2-113E-8E67CF39110A}"/>
          </ac:spMkLst>
        </pc:spChg>
      </pc:sldChg>
      <pc:sldChg chg="modSp mod">
        <pc:chgData name="Bình Nguyễn Thị" userId="cc7b680b2034ed09" providerId="LiveId" clId="{531713A6-0570-4CC1-A926-11950A7985C8}" dt="2023-04-03T06:34:07.117" v="116" actId="14734"/>
        <pc:sldMkLst>
          <pc:docMk/>
          <pc:sldMk cId="707910758" sldId="2147473706"/>
        </pc:sldMkLst>
        <pc:graphicFrameChg chg="mod modGraphic">
          <ac:chgData name="Bình Nguyễn Thị" userId="cc7b680b2034ed09" providerId="LiveId" clId="{531713A6-0570-4CC1-A926-11950A7985C8}" dt="2023-04-03T06:34:07.117" v="116" actId="14734"/>
          <ac:graphicFrameMkLst>
            <pc:docMk/>
            <pc:sldMk cId="707910758" sldId="2147473706"/>
            <ac:graphicFrameMk id="7" creationId="{00000000-0000-0000-0000-000000000000}"/>
          </ac:graphicFrameMkLst>
        </pc:graphicFrameChg>
      </pc:sldChg>
      <pc:sldChg chg="modSp">
        <pc:chgData name="Bình Nguyễn Thị" userId="cc7b680b2034ed09" providerId="LiveId" clId="{531713A6-0570-4CC1-A926-11950A7985C8}" dt="2023-04-03T06:36:45.251" v="127" actId="5793"/>
        <pc:sldMkLst>
          <pc:docMk/>
          <pc:sldMk cId="1384294736" sldId="2147473707"/>
        </pc:sldMkLst>
        <pc:spChg chg="mod">
          <ac:chgData name="Bình Nguyễn Thị" userId="cc7b680b2034ed09" providerId="LiveId" clId="{531713A6-0570-4CC1-A926-11950A7985C8}" dt="2023-04-03T06:36:45.251" v="127" actId="5793"/>
          <ac:spMkLst>
            <pc:docMk/>
            <pc:sldMk cId="1384294736" sldId="2147473707"/>
            <ac:spMk id="2" creationId="{A49FA47D-1679-133E-0301-5CFB76FC4F8D}"/>
          </ac:spMkLst>
        </pc:spChg>
      </pc:sldChg>
      <pc:sldChg chg="addSp modSp mod">
        <pc:chgData name="Bình Nguyễn Thị" userId="cc7b680b2034ed09" providerId="LiveId" clId="{531713A6-0570-4CC1-A926-11950A7985C8}" dt="2023-04-03T06:30:52.862" v="88" actId="207"/>
        <pc:sldMkLst>
          <pc:docMk/>
          <pc:sldMk cId="1376140427" sldId="2147473712"/>
        </pc:sldMkLst>
        <pc:graphicFrameChg chg="add mod modGraphic">
          <ac:chgData name="Bình Nguyễn Thị" userId="cc7b680b2034ed09" providerId="LiveId" clId="{531713A6-0570-4CC1-A926-11950A7985C8}" dt="2023-04-03T06:30:52.862" v="88" actId="207"/>
          <ac:graphicFrameMkLst>
            <pc:docMk/>
            <pc:sldMk cId="1376140427" sldId="2147473712"/>
            <ac:graphicFrameMk id="2" creationId="{01E1D347-08F2-16DA-B029-A5A84E46F07B}"/>
          </ac:graphicFrameMkLst>
        </pc:graphicFrameChg>
        <pc:picChg chg="add mod">
          <ac:chgData name="Bình Nguyễn Thị" userId="cc7b680b2034ed09" providerId="LiveId" clId="{531713A6-0570-4CC1-A926-11950A7985C8}" dt="2023-04-03T06:26:31.548" v="50" actId="14100"/>
          <ac:picMkLst>
            <pc:docMk/>
            <pc:sldMk cId="1376140427" sldId="2147473712"/>
            <ac:picMk id="4" creationId="{5062DEE3-5B6A-4D86-20A6-B596F2C283B7}"/>
          </ac:picMkLst>
        </pc:picChg>
      </pc:sldChg>
    </pc:docChg>
  </pc:docChgLst>
  <pc:docChgLst>
    <pc:chgData name="Tường SKHĐT" userId="ab9568c39a88b08a" providerId="LiveId" clId="{34CB8DE4-BD92-49C7-8DE4-35477F9069EC}"/>
    <pc:docChg chg="undo custSel addSld delSld modSld sldOrd">
      <pc:chgData name="Tường SKHĐT" userId="ab9568c39a88b08a" providerId="LiveId" clId="{34CB8DE4-BD92-49C7-8DE4-35477F9069EC}" dt="2023-06-12T09:30:22.055" v="1088" actId="2696"/>
      <pc:docMkLst>
        <pc:docMk/>
      </pc:docMkLst>
      <pc:sldChg chg="delSp modSp mod">
        <pc:chgData name="Tường SKHĐT" userId="ab9568c39a88b08a" providerId="LiveId" clId="{34CB8DE4-BD92-49C7-8DE4-35477F9069EC}" dt="2023-06-12T07:43:07.768" v="164" actId="21"/>
        <pc:sldMkLst>
          <pc:docMk/>
          <pc:sldMk cId="1596329165" sldId="455"/>
        </pc:sldMkLst>
        <pc:spChg chg="del mod">
          <ac:chgData name="Tường SKHĐT" userId="ab9568c39a88b08a" providerId="LiveId" clId="{34CB8DE4-BD92-49C7-8DE4-35477F9069EC}" dt="2023-06-12T07:43:07.768" v="164" actId="21"/>
          <ac:spMkLst>
            <pc:docMk/>
            <pc:sldMk cId="1596329165" sldId="455"/>
            <ac:spMk id="27" creationId="{87251008-0654-48EC-B85B-8EA2BB576990}"/>
          </ac:spMkLst>
        </pc:spChg>
      </pc:sldChg>
      <pc:sldChg chg="modSp">
        <pc:chgData name="Tường SKHĐT" userId="ab9568c39a88b08a" providerId="LiveId" clId="{34CB8DE4-BD92-49C7-8DE4-35477F9069EC}" dt="2023-06-12T08:30:24.526" v="844" actId="20577"/>
        <pc:sldMkLst>
          <pc:docMk/>
          <pc:sldMk cId="2016091477" sldId="608"/>
        </pc:sldMkLst>
        <pc:graphicFrameChg chg="mod">
          <ac:chgData name="Tường SKHĐT" userId="ab9568c39a88b08a" providerId="LiveId" clId="{34CB8DE4-BD92-49C7-8DE4-35477F9069EC}" dt="2023-06-12T08:30:24.526" v="844" actId="20577"/>
          <ac:graphicFrameMkLst>
            <pc:docMk/>
            <pc:sldMk cId="2016091477" sldId="608"/>
            <ac:graphicFrameMk id="6" creationId="{00000000-0000-0000-0000-000000000000}"/>
          </ac:graphicFrameMkLst>
        </pc:graphicFrameChg>
      </pc:sldChg>
      <pc:sldChg chg="modSp mod">
        <pc:chgData name="Tường SKHĐT" userId="ab9568c39a88b08a" providerId="LiveId" clId="{34CB8DE4-BD92-49C7-8DE4-35477F9069EC}" dt="2023-06-12T08:27:32.446" v="802" actId="20577"/>
        <pc:sldMkLst>
          <pc:docMk/>
          <pc:sldMk cId="2802465441" sldId="2147473522"/>
        </pc:sldMkLst>
        <pc:spChg chg="mod">
          <ac:chgData name="Tường SKHĐT" userId="ab9568c39a88b08a" providerId="LiveId" clId="{34CB8DE4-BD92-49C7-8DE4-35477F9069EC}" dt="2023-06-12T08:27:32.446" v="802" actId="20577"/>
          <ac:spMkLst>
            <pc:docMk/>
            <pc:sldMk cId="2802465441" sldId="2147473522"/>
            <ac:spMk id="25" creationId="{01DC26C3-E6F4-C27A-8624-3A65D81B6008}"/>
          </ac:spMkLst>
        </pc:spChg>
      </pc:sldChg>
      <pc:sldChg chg="modSp mod modAnim">
        <pc:chgData name="Tường SKHĐT" userId="ab9568c39a88b08a" providerId="LiveId" clId="{34CB8DE4-BD92-49C7-8DE4-35477F9069EC}" dt="2023-06-12T08:56:05.465" v="1001" actId="20577"/>
        <pc:sldMkLst>
          <pc:docMk/>
          <pc:sldMk cId="1168642509" sldId="2147473537"/>
        </pc:sldMkLst>
        <pc:spChg chg="mod">
          <ac:chgData name="Tường SKHĐT" userId="ab9568c39a88b08a" providerId="LiveId" clId="{34CB8DE4-BD92-49C7-8DE4-35477F9069EC}" dt="2023-06-12T08:56:05.465" v="1001" actId="20577"/>
          <ac:spMkLst>
            <pc:docMk/>
            <pc:sldMk cId="1168642509" sldId="2147473537"/>
            <ac:spMk id="2" creationId="{A49FA47D-1679-133E-0301-5CFB76FC4F8D}"/>
          </ac:spMkLst>
        </pc:spChg>
        <pc:picChg chg="mod">
          <ac:chgData name="Tường SKHĐT" userId="ab9568c39a88b08a" providerId="LiveId" clId="{34CB8DE4-BD92-49C7-8DE4-35477F9069EC}" dt="2023-06-12T08:53:09.816" v="935" actId="1076"/>
          <ac:picMkLst>
            <pc:docMk/>
            <pc:sldMk cId="1168642509" sldId="2147473537"/>
            <ac:picMk id="4" creationId="{C958310C-5BB2-EED8-57FB-52116A467CDC}"/>
          </ac:picMkLst>
        </pc:picChg>
        <pc:picChg chg="mod">
          <ac:chgData name="Tường SKHĐT" userId="ab9568c39a88b08a" providerId="LiveId" clId="{34CB8DE4-BD92-49C7-8DE4-35477F9069EC}" dt="2023-06-12T08:53:07.456" v="934" actId="1076"/>
          <ac:picMkLst>
            <pc:docMk/>
            <pc:sldMk cId="1168642509" sldId="2147473537"/>
            <ac:picMk id="10" creationId="{A3342B6F-D41E-2656-9E93-78133F35EC1A}"/>
          </ac:picMkLst>
        </pc:picChg>
      </pc:sldChg>
      <pc:sldChg chg="modSp mod">
        <pc:chgData name="Tường SKHĐT" userId="ab9568c39a88b08a" providerId="LiveId" clId="{34CB8DE4-BD92-49C7-8DE4-35477F9069EC}" dt="2023-06-12T09:01:48.686" v="1058" actId="20577"/>
        <pc:sldMkLst>
          <pc:docMk/>
          <pc:sldMk cId="2835104792" sldId="2147473580"/>
        </pc:sldMkLst>
        <pc:spChg chg="mod">
          <ac:chgData name="Tường SKHĐT" userId="ab9568c39a88b08a" providerId="LiveId" clId="{34CB8DE4-BD92-49C7-8DE4-35477F9069EC}" dt="2023-06-12T09:01:48.686" v="1058" actId="20577"/>
          <ac:spMkLst>
            <pc:docMk/>
            <pc:sldMk cId="2835104792" sldId="2147473580"/>
            <ac:spMk id="11" creationId="{7E2CE505-A30B-BB03-1C76-24E8431A366B}"/>
          </ac:spMkLst>
        </pc:spChg>
      </pc:sldChg>
      <pc:sldChg chg="addSp delSp modSp mod">
        <pc:chgData name="Tường SKHĐT" userId="ab9568c39a88b08a" providerId="LiveId" clId="{34CB8DE4-BD92-49C7-8DE4-35477F9069EC}" dt="2023-06-12T08:49:09.461" v="933" actId="14100"/>
        <pc:sldMkLst>
          <pc:docMk/>
          <pc:sldMk cId="3397864268" sldId="2147473590"/>
        </pc:sldMkLst>
        <pc:spChg chg="add mod">
          <ac:chgData name="Tường SKHĐT" userId="ab9568c39a88b08a" providerId="LiveId" clId="{34CB8DE4-BD92-49C7-8DE4-35477F9069EC}" dt="2023-06-12T08:49:09.461" v="933" actId="14100"/>
          <ac:spMkLst>
            <pc:docMk/>
            <pc:sldMk cId="3397864268" sldId="2147473590"/>
            <ac:spMk id="2" creationId="{3C05F405-77A8-295C-5EC2-552D05A0E53C}"/>
          </ac:spMkLst>
        </pc:spChg>
        <pc:spChg chg="del">
          <ac:chgData name="Tường SKHĐT" userId="ab9568c39a88b08a" providerId="LiveId" clId="{34CB8DE4-BD92-49C7-8DE4-35477F9069EC}" dt="2023-06-12T08:49:03.445" v="931" actId="21"/>
          <ac:spMkLst>
            <pc:docMk/>
            <pc:sldMk cId="3397864268" sldId="2147473590"/>
            <ac:spMk id="5" creationId="{1E8C731D-2F8B-A78B-2B4D-33A4EFCB949F}"/>
          </ac:spMkLst>
        </pc:spChg>
        <pc:cxnChg chg="del">
          <ac:chgData name="Tường SKHĐT" userId="ab9568c39a88b08a" providerId="LiveId" clId="{34CB8DE4-BD92-49C7-8DE4-35477F9069EC}" dt="2023-06-12T08:49:01.919" v="930" actId="21"/>
          <ac:cxnSpMkLst>
            <pc:docMk/>
            <pc:sldMk cId="3397864268" sldId="2147473590"/>
            <ac:cxnSpMk id="7" creationId="{4EAE9D66-2EB0-6CD9-A617-64639276163A}"/>
          </ac:cxnSpMkLst>
        </pc:cxnChg>
      </pc:sldChg>
      <pc:sldChg chg="modSp mod">
        <pc:chgData name="Tường SKHĐT" userId="ab9568c39a88b08a" providerId="LiveId" clId="{34CB8DE4-BD92-49C7-8DE4-35477F9069EC}" dt="2023-06-12T07:39:29.886" v="156" actId="1076"/>
        <pc:sldMkLst>
          <pc:docMk/>
          <pc:sldMk cId="2171956986" sldId="2147473620"/>
        </pc:sldMkLst>
        <pc:spChg chg="mod">
          <ac:chgData name="Tường SKHĐT" userId="ab9568c39a88b08a" providerId="LiveId" clId="{34CB8DE4-BD92-49C7-8DE4-35477F9069EC}" dt="2023-06-12T07:39:29.886" v="156" actId="1076"/>
          <ac:spMkLst>
            <pc:docMk/>
            <pc:sldMk cId="2171956986" sldId="2147473620"/>
            <ac:spMk id="11" creationId="{6220529F-F711-0C6B-EEFD-3905ECF34CAE}"/>
          </ac:spMkLst>
        </pc:spChg>
      </pc:sldChg>
      <pc:sldChg chg="del">
        <pc:chgData name="Tường SKHĐT" userId="ab9568c39a88b08a" providerId="LiveId" clId="{34CB8DE4-BD92-49C7-8DE4-35477F9069EC}" dt="2023-06-12T09:30:11.442" v="1086" actId="2696"/>
        <pc:sldMkLst>
          <pc:docMk/>
          <pc:sldMk cId="1174761856" sldId="2147473632"/>
        </pc:sldMkLst>
      </pc:sldChg>
      <pc:sldChg chg="modSp mod">
        <pc:chgData name="Tường SKHĐT" userId="ab9568c39a88b08a" providerId="LiveId" clId="{34CB8DE4-BD92-49C7-8DE4-35477F9069EC}" dt="2023-06-12T09:03:08.074" v="1059" actId="20577"/>
        <pc:sldMkLst>
          <pc:docMk/>
          <pc:sldMk cId="3788652331" sldId="2147473664"/>
        </pc:sldMkLst>
        <pc:graphicFrameChg chg="modGraphic">
          <ac:chgData name="Tường SKHĐT" userId="ab9568c39a88b08a" providerId="LiveId" clId="{34CB8DE4-BD92-49C7-8DE4-35477F9069EC}" dt="2023-06-12T09:03:08.074" v="1059" actId="20577"/>
          <ac:graphicFrameMkLst>
            <pc:docMk/>
            <pc:sldMk cId="3788652331" sldId="2147473664"/>
            <ac:graphicFrameMk id="8" creationId="{B5E5335D-2EED-82AF-3A59-FAE8BB94EAE1}"/>
          </ac:graphicFrameMkLst>
        </pc:graphicFrameChg>
      </pc:sldChg>
      <pc:sldChg chg="modSp">
        <pc:chgData name="Tường SKHĐT" userId="ab9568c39a88b08a" providerId="LiveId" clId="{34CB8DE4-BD92-49C7-8DE4-35477F9069EC}" dt="2023-06-12T07:41:17.528" v="160" actId="20577"/>
        <pc:sldMkLst>
          <pc:docMk/>
          <pc:sldMk cId="3956457276" sldId="2147473683"/>
        </pc:sldMkLst>
        <pc:spChg chg="mod">
          <ac:chgData name="Tường SKHĐT" userId="ab9568c39a88b08a" providerId="LiveId" clId="{34CB8DE4-BD92-49C7-8DE4-35477F9069EC}" dt="2023-06-12T07:41:17.528" v="160" actId="20577"/>
          <ac:spMkLst>
            <pc:docMk/>
            <pc:sldMk cId="3956457276" sldId="2147473683"/>
            <ac:spMk id="2" creationId="{A49FA47D-1679-133E-0301-5CFB76FC4F8D}"/>
          </ac:spMkLst>
        </pc:spChg>
      </pc:sldChg>
      <pc:sldChg chg="addSp delSp modSp mod">
        <pc:chgData name="Tường SKHĐT" userId="ab9568c39a88b08a" providerId="LiveId" clId="{34CB8DE4-BD92-49C7-8DE4-35477F9069EC}" dt="2023-06-12T08:47:08.529" v="902" actId="1076"/>
        <pc:sldMkLst>
          <pc:docMk/>
          <pc:sldMk cId="67746271" sldId="2147473699"/>
        </pc:sldMkLst>
        <pc:spChg chg="mod">
          <ac:chgData name="Tường SKHĐT" userId="ab9568c39a88b08a" providerId="LiveId" clId="{34CB8DE4-BD92-49C7-8DE4-35477F9069EC}" dt="2023-06-12T08:47:00.208" v="901" actId="1076"/>
          <ac:spMkLst>
            <pc:docMk/>
            <pc:sldMk cId="67746271" sldId="2147473699"/>
            <ac:spMk id="4" creationId="{FEB40E86-96DD-7002-066A-784713A27A1C}"/>
          </ac:spMkLst>
        </pc:spChg>
        <pc:picChg chg="del">
          <ac:chgData name="Tường SKHĐT" userId="ab9568c39a88b08a" providerId="LiveId" clId="{34CB8DE4-BD92-49C7-8DE4-35477F9069EC}" dt="2023-06-12T08:40:59.994" v="881" actId="21"/>
          <ac:picMkLst>
            <pc:docMk/>
            <pc:sldMk cId="67746271" sldId="2147473699"/>
            <ac:picMk id="3" creationId="{530083A4-E582-0190-B92E-13E604C98618}"/>
          </ac:picMkLst>
        </pc:picChg>
        <pc:picChg chg="add del mod">
          <ac:chgData name="Tường SKHĐT" userId="ab9568c39a88b08a" providerId="LiveId" clId="{34CB8DE4-BD92-49C7-8DE4-35477F9069EC}" dt="2023-06-12T08:45:39.916" v="885" actId="21"/>
          <ac:picMkLst>
            <pc:docMk/>
            <pc:sldMk cId="67746271" sldId="2147473699"/>
            <ac:picMk id="5" creationId="{7F7A47FE-F782-7A5C-ACF7-1A17D9E4582C}"/>
          </ac:picMkLst>
        </pc:picChg>
        <pc:picChg chg="add del mod">
          <ac:chgData name="Tường SKHĐT" userId="ab9568c39a88b08a" providerId="LiveId" clId="{34CB8DE4-BD92-49C7-8DE4-35477F9069EC}" dt="2023-06-12T08:46:45.540" v="894" actId="21"/>
          <ac:picMkLst>
            <pc:docMk/>
            <pc:sldMk cId="67746271" sldId="2147473699"/>
            <ac:picMk id="8" creationId="{DC88E840-14BF-B65B-7BF8-57588CA75CF6}"/>
          </ac:picMkLst>
        </pc:picChg>
        <pc:picChg chg="add mod">
          <ac:chgData name="Tường SKHĐT" userId="ab9568c39a88b08a" providerId="LiveId" clId="{34CB8DE4-BD92-49C7-8DE4-35477F9069EC}" dt="2023-06-12T08:47:08.529" v="902" actId="1076"/>
          <ac:picMkLst>
            <pc:docMk/>
            <pc:sldMk cId="67746271" sldId="2147473699"/>
            <ac:picMk id="10" creationId="{661B3E83-2AE9-9ABD-8D8F-5FE28537B20F}"/>
          </ac:picMkLst>
        </pc:picChg>
      </pc:sldChg>
      <pc:sldChg chg="modSp mod">
        <pc:chgData name="Tường SKHĐT" userId="ab9568c39a88b08a" providerId="LiveId" clId="{34CB8DE4-BD92-49C7-8DE4-35477F9069EC}" dt="2023-06-12T09:00:29.450" v="1053" actId="1076"/>
        <pc:sldMkLst>
          <pc:docMk/>
          <pc:sldMk cId="1384294736" sldId="2147473707"/>
        </pc:sldMkLst>
        <pc:spChg chg="mod">
          <ac:chgData name="Tường SKHĐT" userId="ab9568c39a88b08a" providerId="LiveId" clId="{34CB8DE4-BD92-49C7-8DE4-35477F9069EC}" dt="2023-06-12T09:00:29.450" v="1053" actId="1076"/>
          <ac:spMkLst>
            <pc:docMk/>
            <pc:sldMk cId="1384294736" sldId="2147473707"/>
            <ac:spMk id="2" creationId="{A49FA47D-1679-133E-0301-5CFB76FC4F8D}"/>
          </ac:spMkLst>
        </pc:spChg>
        <pc:picChg chg="mod">
          <ac:chgData name="Tường SKHĐT" userId="ab9568c39a88b08a" providerId="LiveId" clId="{34CB8DE4-BD92-49C7-8DE4-35477F9069EC}" dt="2023-06-12T09:00:22.346" v="1050" actId="1076"/>
          <ac:picMkLst>
            <pc:docMk/>
            <pc:sldMk cId="1384294736" sldId="2147473707"/>
            <ac:picMk id="4" creationId="{C958310C-5BB2-EED8-57FB-52116A467CDC}"/>
          </ac:picMkLst>
        </pc:picChg>
        <pc:picChg chg="mod">
          <ac:chgData name="Tường SKHĐT" userId="ab9568c39a88b08a" providerId="LiveId" clId="{34CB8DE4-BD92-49C7-8DE4-35477F9069EC}" dt="2023-06-12T09:00:25.328" v="1051" actId="14100"/>
          <ac:picMkLst>
            <pc:docMk/>
            <pc:sldMk cId="1384294736" sldId="2147473707"/>
            <ac:picMk id="10" creationId="{A3342B6F-D41E-2656-9E93-78133F35EC1A}"/>
          </ac:picMkLst>
        </pc:picChg>
      </pc:sldChg>
      <pc:sldChg chg="modSp mod modAnim">
        <pc:chgData name="Tường SKHĐT" userId="ab9568c39a88b08a" providerId="LiveId" clId="{34CB8DE4-BD92-49C7-8DE4-35477F9069EC}" dt="2023-06-12T09:01:26.742" v="1055" actId="1076"/>
        <pc:sldMkLst>
          <pc:docMk/>
          <pc:sldMk cId="3055150034" sldId="2147473708"/>
        </pc:sldMkLst>
        <pc:spChg chg="mod">
          <ac:chgData name="Tường SKHĐT" userId="ab9568c39a88b08a" providerId="LiveId" clId="{34CB8DE4-BD92-49C7-8DE4-35477F9069EC}" dt="2023-06-12T09:01:26.742" v="1055" actId="1076"/>
          <ac:spMkLst>
            <pc:docMk/>
            <pc:sldMk cId="3055150034" sldId="2147473708"/>
            <ac:spMk id="2" creationId="{A49FA47D-1679-133E-0301-5CFB76FC4F8D}"/>
          </ac:spMkLst>
        </pc:spChg>
      </pc:sldChg>
      <pc:sldChg chg="del">
        <pc:chgData name="Tường SKHĐT" userId="ab9568c39a88b08a" providerId="LiveId" clId="{34CB8DE4-BD92-49C7-8DE4-35477F9069EC}" dt="2023-06-12T09:30:22.055" v="1088" actId="2696"/>
        <pc:sldMkLst>
          <pc:docMk/>
          <pc:sldMk cId="3384527337" sldId="2147473719"/>
        </pc:sldMkLst>
      </pc:sldChg>
      <pc:sldChg chg="ord">
        <pc:chgData name="Tường SKHĐT" userId="ab9568c39a88b08a" providerId="LiveId" clId="{34CB8DE4-BD92-49C7-8DE4-35477F9069EC}" dt="2023-06-12T07:43:34.515" v="167" actId="20578"/>
        <pc:sldMkLst>
          <pc:docMk/>
          <pc:sldMk cId="912302037" sldId="2147473721"/>
        </pc:sldMkLst>
      </pc:sldChg>
      <pc:sldChg chg="modSp mod">
        <pc:chgData name="Tường SKHĐT" userId="ab9568c39a88b08a" providerId="LiveId" clId="{34CB8DE4-BD92-49C7-8DE4-35477F9069EC}" dt="2023-06-12T07:59:54.174" v="558" actId="20577"/>
        <pc:sldMkLst>
          <pc:docMk/>
          <pc:sldMk cId="964652449" sldId="2147473728"/>
        </pc:sldMkLst>
        <pc:graphicFrameChg chg="mod modGraphic">
          <ac:chgData name="Tường SKHĐT" userId="ab9568c39a88b08a" providerId="LiveId" clId="{34CB8DE4-BD92-49C7-8DE4-35477F9069EC}" dt="2023-06-12T07:59:54.174" v="558" actId="20577"/>
          <ac:graphicFrameMkLst>
            <pc:docMk/>
            <pc:sldMk cId="964652449" sldId="2147473728"/>
            <ac:graphicFrameMk id="5" creationId="{B5E5335D-2EED-82AF-3A59-FAE8BB94EAE1}"/>
          </ac:graphicFrameMkLst>
        </pc:graphicFrameChg>
      </pc:sldChg>
      <pc:sldChg chg="modSp mod">
        <pc:chgData name="Tường SKHĐT" userId="ab9568c39a88b08a" providerId="LiveId" clId="{34CB8DE4-BD92-49C7-8DE4-35477F9069EC}" dt="2023-06-12T07:32:14.663" v="28" actId="12"/>
        <pc:sldMkLst>
          <pc:docMk/>
          <pc:sldMk cId="1775073472" sldId="2147473736"/>
        </pc:sldMkLst>
        <pc:graphicFrameChg chg="modGraphic">
          <ac:chgData name="Tường SKHĐT" userId="ab9568c39a88b08a" providerId="LiveId" clId="{34CB8DE4-BD92-49C7-8DE4-35477F9069EC}" dt="2023-06-12T07:32:14.663" v="28" actId="12"/>
          <ac:graphicFrameMkLst>
            <pc:docMk/>
            <pc:sldMk cId="1775073472" sldId="2147473736"/>
            <ac:graphicFrameMk id="6" creationId="{47027231-95EF-C8CE-4215-B126B807487B}"/>
          </ac:graphicFrameMkLst>
        </pc:graphicFrameChg>
      </pc:sldChg>
      <pc:sldChg chg="modSp mod">
        <pc:chgData name="Tường SKHĐT" userId="ab9568c39a88b08a" providerId="LiveId" clId="{34CB8DE4-BD92-49C7-8DE4-35477F9069EC}" dt="2023-06-12T07:15:35.513" v="2" actId="20577"/>
        <pc:sldMkLst>
          <pc:docMk/>
          <pc:sldMk cId="4255944904" sldId="2147473766"/>
        </pc:sldMkLst>
        <pc:spChg chg="mod">
          <ac:chgData name="Tường SKHĐT" userId="ab9568c39a88b08a" providerId="LiveId" clId="{34CB8DE4-BD92-49C7-8DE4-35477F9069EC}" dt="2023-06-12T07:15:35.513" v="2" actId="20577"/>
          <ac:spMkLst>
            <pc:docMk/>
            <pc:sldMk cId="4255944904" sldId="2147473766"/>
            <ac:spMk id="2" creationId="{AD32428D-DFD3-1A5A-AD7B-B47617223596}"/>
          </ac:spMkLst>
        </pc:spChg>
      </pc:sldChg>
      <pc:sldChg chg="modSp mod">
        <pc:chgData name="Tường SKHĐT" userId="ab9568c39a88b08a" providerId="LiveId" clId="{34CB8DE4-BD92-49C7-8DE4-35477F9069EC}" dt="2023-06-12T08:48:45.394" v="929" actId="20577"/>
        <pc:sldMkLst>
          <pc:docMk/>
          <pc:sldMk cId="1424456270" sldId="2147473768"/>
        </pc:sldMkLst>
        <pc:spChg chg="mod">
          <ac:chgData name="Tường SKHĐT" userId="ab9568c39a88b08a" providerId="LiveId" clId="{34CB8DE4-BD92-49C7-8DE4-35477F9069EC}" dt="2023-06-12T08:48:45.394" v="929" actId="20577"/>
          <ac:spMkLst>
            <pc:docMk/>
            <pc:sldMk cId="1424456270" sldId="2147473768"/>
            <ac:spMk id="25" creationId="{01DC26C3-E6F4-C27A-8624-3A65D81B6008}"/>
          </ac:spMkLst>
        </pc:spChg>
      </pc:sldChg>
      <pc:sldChg chg="modSp mod">
        <pc:chgData name="Tường SKHĐT" userId="ab9568c39a88b08a" providerId="LiveId" clId="{34CB8DE4-BD92-49C7-8DE4-35477F9069EC}" dt="2023-06-12T08:48:40.591" v="916" actId="20577"/>
        <pc:sldMkLst>
          <pc:docMk/>
          <pc:sldMk cId="2280649645" sldId="2147473769"/>
        </pc:sldMkLst>
        <pc:spChg chg="mod">
          <ac:chgData name="Tường SKHĐT" userId="ab9568c39a88b08a" providerId="LiveId" clId="{34CB8DE4-BD92-49C7-8DE4-35477F9069EC}" dt="2023-06-12T08:48:40.591" v="916" actId="20577"/>
          <ac:spMkLst>
            <pc:docMk/>
            <pc:sldMk cId="2280649645" sldId="2147473769"/>
            <ac:spMk id="4" creationId="{3DAAD17F-4A57-07B0-72E4-C7D0722B854E}"/>
          </ac:spMkLst>
        </pc:spChg>
      </pc:sldChg>
      <pc:sldChg chg="del">
        <pc:chgData name="Tường SKHĐT" userId="ab9568c39a88b08a" providerId="LiveId" clId="{34CB8DE4-BD92-49C7-8DE4-35477F9069EC}" dt="2023-06-12T09:29:43.134" v="1082" actId="2696"/>
        <pc:sldMkLst>
          <pc:docMk/>
          <pc:sldMk cId="4140657677" sldId="2147473770"/>
        </pc:sldMkLst>
      </pc:sldChg>
      <pc:sldChg chg="modSp mod">
        <pc:chgData name="Tường SKHĐT" userId="ab9568c39a88b08a" providerId="LiveId" clId="{34CB8DE4-BD92-49C7-8DE4-35477F9069EC}" dt="2023-06-12T08:32:07.549" v="858" actId="20577"/>
        <pc:sldMkLst>
          <pc:docMk/>
          <pc:sldMk cId="645932880" sldId="2147473780"/>
        </pc:sldMkLst>
        <pc:spChg chg="mod">
          <ac:chgData name="Tường SKHĐT" userId="ab9568c39a88b08a" providerId="LiveId" clId="{34CB8DE4-BD92-49C7-8DE4-35477F9069EC}" dt="2023-06-12T08:32:07.549" v="858" actId="20577"/>
          <ac:spMkLst>
            <pc:docMk/>
            <pc:sldMk cId="645932880" sldId="2147473780"/>
            <ac:spMk id="7" creationId="{4A5CC767-3BC7-5025-FC6C-29F07C0192CB}"/>
          </ac:spMkLst>
        </pc:spChg>
      </pc:sldChg>
      <pc:sldChg chg="modSp mod">
        <pc:chgData name="Tường SKHĐT" userId="ab9568c39a88b08a" providerId="LiveId" clId="{34CB8DE4-BD92-49C7-8DE4-35477F9069EC}" dt="2023-06-12T07:46:42.166" v="302" actId="20577"/>
        <pc:sldMkLst>
          <pc:docMk/>
          <pc:sldMk cId="1731010684" sldId="2147473790"/>
        </pc:sldMkLst>
        <pc:graphicFrameChg chg="modGraphic">
          <ac:chgData name="Tường SKHĐT" userId="ab9568c39a88b08a" providerId="LiveId" clId="{34CB8DE4-BD92-49C7-8DE4-35477F9069EC}" dt="2023-06-12T07:46:42.166" v="302" actId="20577"/>
          <ac:graphicFrameMkLst>
            <pc:docMk/>
            <pc:sldMk cId="1731010684" sldId="2147473790"/>
            <ac:graphicFrameMk id="4" creationId="{8B2A91AF-00C2-B55E-A461-E4F4D180C7EB}"/>
          </ac:graphicFrameMkLst>
        </pc:graphicFrameChg>
      </pc:sldChg>
      <pc:sldChg chg="modSp mod">
        <pc:chgData name="Tường SKHĐT" userId="ab9568c39a88b08a" providerId="LiveId" clId="{34CB8DE4-BD92-49C7-8DE4-35477F9069EC}" dt="2023-06-12T07:49:41.312" v="384" actId="6549"/>
        <pc:sldMkLst>
          <pc:docMk/>
          <pc:sldMk cId="1652311740" sldId="2147473795"/>
        </pc:sldMkLst>
        <pc:graphicFrameChg chg="modGraphic">
          <ac:chgData name="Tường SKHĐT" userId="ab9568c39a88b08a" providerId="LiveId" clId="{34CB8DE4-BD92-49C7-8DE4-35477F9069EC}" dt="2023-06-12T07:49:41.312" v="384" actId="6549"/>
          <ac:graphicFrameMkLst>
            <pc:docMk/>
            <pc:sldMk cId="1652311740" sldId="2147473795"/>
            <ac:graphicFrameMk id="2" creationId="{3BF8E8E2-FC7A-766D-120A-12F0136F960F}"/>
          </ac:graphicFrameMkLst>
        </pc:graphicFrameChg>
      </pc:sldChg>
      <pc:sldChg chg="modSp mod">
        <pc:chgData name="Tường SKHĐT" userId="ab9568c39a88b08a" providerId="LiveId" clId="{34CB8DE4-BD92-49C7-8DE4-35477F9069EC}" dt="2023-06-12T09:28:11.339" v="1076" actId="1076"/>
        <pc:sldMkLst>
          <pc:docMk/>
          <pc:sldMk cId="1258887434" sldId="2147473798"/>
        </pc:sldMkLst>
        <pc:picChg chg="mod">
          <ac:chgData name="Tường SKHĐT" userId="ab9568c39a88b08a" providerId="LiveId" clId="{34CB8DE4-BD92-49C7-8DE4-35477F9069EC}" dt="2023-06-12T09:28:11.339" v="1076" actId="1076"/>
          <ac:picMkLst>
            <pc:docMk/>
            <pc:sldMk cId="1258887434" sldId="2147473798"/>
            <ac:picMk id="5" creationId="{D7D192ED-A090-3C6F-3CA7-2C3CDBC37FF3}"/>
          </ac:picMkLst>
        </pc:picChg>
      </pc:sldChg>
      <pc:sldChg chg="modSp mod">
        <pc:chgData name="Tường SKHĐT" userId="ab9568c39a88b08a" providerId="LiveId" clId="{34CB8DE4-BD92-49C7-8DE4-35477F9069EC}" dt="2023-06-12T08:22:17.688" v="788" actId="1076"/>
        <pc:sldMkLst>
          <pc:docMk/>
          <pc:sldMk cId="2028050016" sldId="2147473800"/>
        </pc:sldMkLst>
        <pc:graphicFrameChg chg="mod modGraphic">
          <ac:chgData name="Tường SKHĐT" userId="ab9568c39a88b08a" providerId="LiveId" clId="{34CB8DE4-BD92-49C7-8DE4-35477F9069EC}" dt="2023-06-12T08:22:17.688" v="788" actId="1076"/>
          <ac:graphicFrameMkLst>
            <pc:docMk/>
            <pc:sldMk cId="2028050016" sldId="2147473800"/>
            <ac:graphicFrameMk id="2" creationId="{207C86B0-DBF4-FD20-221B-BD96FD50EA79}"/>
          </ac:graphicFrameMkLst>
        </pc:graphicFrameChg>
      </pc:sldChg>
      <pc:sldChg chg="modSp mod">
        <pc:chgData name="Tường SKHĐT" userId="ab9568c39a88b08a" providerId="LiveId" clId="{34CB8DE4-BD92-49C7-8DE4-35477F9069EC}" dt="2023-06-12T07:25:55.529" v="4" actId="20577"/>
        <pc:sldMkLst>
          <pc:docMk/>
          <pc:sldMk cId="3639331486" sldId="2147473803"/>
        </pc:sldMkLst>
        <pc:graphicFrameChg chg="modGraphic">
          <ac:chgData name="Tường SKHĐT" userId="ab9568c39a88b08a" providerId="LiveId" clId="{34CB8DE4-BD92-49C7-8DE4-35477F9069EC}" dt="2023-06-12T07:25:55.529" v="4" actId="20577"/>
          <ac:graphicFrameMkLst>
            <pc:docMk/>
            <pc:sldMk cId="3639331486" sldId="2147473803"/>
            <ac:graphicFrameMk id="3" creationId="{2B60E389-3C15-E216-2343-FACD1755B5AD}"/>
          </ac:graphicFrameMkLst>
        </pc:graphicFrameChg>
      </pc:sldChg>
      <pc:sldChg chg="modSp mod">
        <pc:chgData name="Tường SKHĐT" userId="ab9568c39a88b08a" providerId="LiveId" clId="{34CB8DE4-BD92-49C7-8DE4-35477F9069EC}" dt="2023-06-12T07:35:10.766" v="125" actId="20577"/>
        <pc:sldMkLst>
          <pc:docMk/>
          <pc:sldMk cId="877416782" sldId="2147473804"/>
        </pc:sldMkLst>
        <pc:graphicFrameChg chg="modGraphic">
          <ac:chgData name="Tường SKHĐT" userId="ab9568c39a88b08a" providerId="LiveId" clId="{34CB8DE4-BD92-49C7-8DE4-35477F9069EC}" dt="2023-06-12T07:35:10.766" v="125" actId="20577"/>
          <ac:graphicFrameMkLst>
            <pc:docMk/>
            <pc:sldMk cId="877416782" sldId="2147473804"/>
            <ac:graphicFrameMk id="3" creationId="{1243D2EC-FD70-31EF-486E-0289B57D5A19}"/>
          </ac:graphicFrameMkLst>
        </pc:graphicFrameChg>
      </pc:sldChg>
      <pc:sldChg chg="modSp mod">
        <pc:chgData name="Tường SKHĐT" userId="ab9568c39a88b08a" providerId="LiveId" clId="{34CB8DE4-BD92-49C7-8DE4-35477F9069EC}" dt="2023-06-12T07:25:24.897" v="3" actId="20577"/>
        <pc:sldMkLst>
          <pc:docMk/>
          <pc:sldMk cId="3887791985" sldId="2147473805"/>
        </pc:sldMkLst>
        <pc:graphicFrameChg chg="modGraphic">
          <ac:chgData name="Tường SKHĐT" userId="ab9568c39a88b08a" providerId="LiveId" clId="{34CB8DE4-BD92-49C7-8DE4-35477F9069EC}" dt="2023-06-12T07:25:24.897" v="3" actId="20577"/>
          <ac:graphicFrameMkLst>
            <pc:docMk/>
            <pc:sldMk cId="3887791985" sldId="2147473805"/>
            <ac:graphicFrameMk id="5" creationId="{B5E5335D-2EED-82AF-3A59-FAE8BB94EAE1}"/>
          </ac:graphicFrameMkLst>
        </pc:graphicFrameChg>
      </pc:sldChg>
      <pc:sldChg chg="modSp mod">
        <pc:chgData name="Tường SKHĐT" userId="ab9568c39a88b08a" providerId="LiveId" clId="{34CB8DE4-BD92-49C7-8DE4-35477F9069EC}" dt="2023-06-12T08:37:40.435" v="879" actId="20577"/>
        <pc:sldMkLst>
          <pc:docMk/>
          <pc:sldMk cId="520020494" sldId="2147473806"/>
        </pc:sldMkLst>
        <pc:graphicFrameChg chg="modGraphic">
          <ac:chgData name="Tường SKHĐT" userId="ab9568c39a88b08a" providerId="LiveId" clId="{34CB8DE4-BD92-49C7-8DE4-35477F9069EC}" dt="2023-06-12T08:37:40.435" v="879" actId="20577"/>
          <ac:graphicFrameMkLst>
            <pc:docMk/>
            <pc:sldMk cId="520020494" sldId="2147473806"/>
            <ac:graphicFrameMk id="5" creationId="{B5E5335D-2EED-82AF-3A59-FAE8BB94EAE1}"/>
          </ac:graphicFrameMkLst>
        </pc:graphicFrameChg>
      </pc:sldChg>
      <pc:sldChg chg="modSp mod">
        <pc:chgData name="Tường SKHĐT" userId="ab9568c39a88b08a" providerId="LiveId" clId="{34CB8DE4-BD92-49C7-8DE4-35477F9069EC}" dt="2023-06-12T09:27:41.268" v="1075" actId="1036"/>
        <pc:sldMkLst>
          <pc:docMk/>
          <pc:sldMk cId="1987475464" sldId="2147473828"/>
        </pc:sldMkLst>
        <pc:graphicFrameChg chg="mod">
          <ac:chgData name="Tường SKHĐT" userId="ab9568c39a88b08a" providerId="LiveId" clId="{34CB8DE4-BD92-49C7-8DE4-35477F9069EC}" dt="2023-06-12T09:27:41.268" v="1075" actId="1036"/>
          <ac:graphicFrameMkLst>
            <pc:docMk/>
            <pc:sldMk cId="1987475464" sldId="2147473828"/>
            <ac:graphicFrameMk id="2" creationId="{BFE6691C-E16E-33FF-D926-977E7FBC6CC5}"/>
          </ac:graphicFrameMkLst>
        </pc:graphicFrameChg>
      </pc:sldChg>
      <pc:sldChg chg="modSp mod">
        <pc:chgData name="Tường SKHĐT" userId="ab9568c39a88b08a" providerId="LiveId" clId="{34CB8DE4-BD92-49C7-8DE4-35477F9069EC}" dt="2023-06-12T08:19:16.437" v="664" actId="20577"/>
        <pc:sldMkLst>
          <pc:docMk/>
          <pc:sldMk cId="238100601" sldId="2147473837"/>
        </pc:sldMkLst>
        <pc:graphicFrameChg chg="modGraphic">
          <ac:chgData name="Tường SKHĐT" userId="ab9568c39a88b08a" providerId="LiveId" clId="{34CB8DE4-BD92-49C7-8DE4-35477F9069EC}" dt="2023-06-12T08:19:16.437" v="664" actId="20577"/>
          <ac:graphicFrameMkLst>
            <pc:docMk/>
            <pc:sldMk cId="238100601" sldId="2147473837"/>
            <ac:graphicFrameMk id="8" creationId="{B5E5335D-2EED-82AF-3A59-FAE8BB94EAE1}"/>
          </ac:graphicFrameMkLst>
        </pc:graphicFrameChg>
      </pc:sldChg>
      <pc:sldChg chg="modSp mod">
        <pc:chgData name="Tường SKHĐT" userId="ab9568c39a88b08a" providerId="LiveId" clId="{34CB8DE4-BD92-49C7-8DE4-35477F9069EC}" dt="2023-06-12T07:10:29.031" v="0" actId="1076"/>
        <pc:sldMkLst>
          <pc:docMk/>
          <pc:sldMk cId="1957643202" sldId="2147473838"/>
        </pc:sldMkLst>
        <pc:spChg chg="mod">
          <ac:chgData name="Tường SKHĐT" userId="ab9568c39a88b08a" providerId="LiveId" clId="{34CB8DE4-BD92-49C7-8DE4-35477F9069EC}" dt="2023-06-12T07:10:29.031" v="0" actId="1076"/>
          <ac:spMkLst>
            <pc:docMk/>
            <pc:sldMk cId="1957643202" sldId="2147473838"/>
            <ac:spMk id="4" creationId="{F2F47907-BFA6-9C9C-7410-0773243570E0}"/>
          </ac:spMkLst>
        </pc:spChg>
      </pc:sldChg>
      <pc:sldChg chg="delSp modSp mod">
        <pc:chgData name="Tường SKHĐT" userId="ab9568c39a88b08a" providerId="LiveId" clId="{34CB8DE4-BD92-49C7-8DE4-35477F9069EC}" dt="2023-06-12T09:27:09.708" v="1073" actId="1076"/>
        <pc:sldMkLst>
          <pc:docMk/>
          <pc:sldMk cId="3752301376" sldId="2147473839"/>
        </pc:sldMkLst>
        <pc:graphicFrameChg chg="del mod">
          <ac:chgData name="Tường SKHĐT" userId="ab9568c39a88b08a" providerId="LiveId" clId="{34CB8DE4-BD92-49C7-8DE4-35477F9069EC}" dt="2023-06-12T09:08:40.347" v="1065" actId="21"/>
          <ac:graphicFrameMkLst>
            <pc:docMk/>
            <pc:sldMk cId="3752301376" sldId="2147473839"/>
            <ac:graphicFrameMk id="2" creationId="{34A12A1A-2608-FA0C-5C83-F31881C9EF21}"/>
          </ac:graphicFrameMkLst>
        </pc:graphicFrameChg>
        <pc:graphicFrameChg chg="del mod">
          <ac:chgData name="Tường SKHĐT" userId="ab9568c39a88b08a" providerId="LiveId" clId="{34CB8DE4-BD92-49C7-8DE4-35477F9069EC}" dt="2023-06-12T09:27:02.045" v="1072" actId="21"/>
          <ac:graphicFrameMkLst>
            <pc:docMk/>
            <pc:sldMk cId="3752301376" sldId="2147473839"/>
            <ac:graphicFrameMk id="2" creationId="{3F3787FB-7526-5B80-EA90-73159100BC59}"/>
          </ac:graphicFrameMkLst>
        </pc:graphicFrameChg>
        <pc:graphicFrameChg chg="mod">
          <ac:chgData name="Tường SKHĐT" userId="ab9568c39a88b08a" providerId="LiveId" clId="{34CB8DE4-BD92-49C7-8DE4-35477F9069EC}" dt="2023-06-12T09:27:09.708" v="1073" actId="1076"/>
          <ac:graphicFrameMkLst>
            <pc:docMk/>
            <pc:sldMk cId="3752301376" sldId="2147473839"/>
            <ac:graphicFrameMk id="3" creationId="{5E56084D-AF42-024A-D0D9-5334B5F27471}"/>
          </ac:graphicFrameMkLst>
        </pc:graphicFrameChg>
        <pc:graphicFrameChg chg="del mod">
          <ac:chgData name="Tường SKHĐT" userId="ab9568c39a88b08a" providerId="LiveId" clId="{34CB8DE4-BD92-49C7-8DE4-35477F9069EC}" dt="2023-06-12T09:17:06.450" v="1069" actId="21"/>
          <ac:graphicFrameMkLst>
            <pc:docMk/>
            <pc:sldMk cId="3752301376" sldId="2147473839"/>
            <ac:graphicFrameMk id="3" creationId="{C6D186BC-9C68-0D91-3FB3-069242042D50}"/>
          </ac:graphicFrameMkLst>
        </pc:graphicFrameChg>
        <pc:graphicFrameChg chg="del">
          <ac:chgData name="Tường SKHĐT" userId="ab9568c39a88b08a" providerId="LiveId" clId="{34CB8DE4-BD92-49C7-8DE4-35477F9069EC}" dt="2023-06-12T09:04:57.669" v="1061" actId="21"/>
          <ac:graphicFrameMkLst>
            <pc:docMk/>
            <pc:sldMk cId="3752301376" sldId="2147473839"/>
            <ac:graphicFrameMk id="10" creationId="{78AE96A3-F446-AF0B-29D6-B0D7C99FFBCC}"/>
          </ac:graphicFrameMkLst>
        </pc:graphicFrameChg>
      </pc:sldChg>
      <pc:sldChg chg="modSp mod">
        <pc:chgData name="Tường SKHĐT" userId="ab9568c39a88b08a" providerId="LiveId" clId="{34CB8DE4-BD92-49C7-8DE4-35477F9069EC}" dt="2023-06-12T07:58:37.799" v="404" actId="20577"/>
        <pc:sldMkLst>
          <pc:docMk/>
          <pc:sldMk cId="2159545141" sldId="2147473852"/>
        </pc:sldMkLst>
        <pc:graphicFrameChg chg="modGraphic">
          <ac:chgData name="Tường SKHĐT" userId="ab9568c39a88b08a" providerId="LiveId" clId="{34CB8DE4-BD92-49C7-8DE4-35477F9069EC}" dt="2023-06-12T07:58:37.799" v="404" actId="20577"/>
          <ac:graphicFrameMkLst>
            <pc:docMk/>
            <pc:sldMk cId="2159545141" sldId="2147473852"/>
            <ac:graphicFrameMk id="3" creationId="{1243D2EC-FD70-31EF-486E-0289B57D5A19}"/>
          </ac:graphicFrameMkLst>
        </pc:graphicFrameChg>
      </pc:sldChg>
      <pc:sldChg chg="addSp delSp modSp add mod">
        <pc:chgData name="Tường SKHĐT" userId="ab9568c39a88b08a" providerId="LiveId" clId="{34CB8DE4-BD92-49C7-8DE4-35477F9069EC}" dt="2023-06-12T09:29:30.468" v="1081" actId="1076"/>
        <pc:sldMkLst>
          <pc:docMk/>
          <pc:sldMk cId="1275755780" sldId="2147473857"/>
        </pc:sldMkLst>
        <pc:spChg chg="del">
          <ac:chgData name="Tường SKHĐT" userId="ab9568c39a88b08a" providerId="LiveId" clId="{34CB8DE4-BD92-49C7-8DE4-35477F9069EC}" dt="2023-06-12T09:29:18.518" v="1078" actId="21"/>
          <ac:spMkLst>
            <pc:docMk/>
            <pc:sldMk cId="1275755780" sldId="2147473857"/>
            <ac:spMk id="2" creationId="{85B15777-9A9B-83C0-EAE1-18A3DD8356D6}"/>
          </ac:spMkLst>
        </pc:spChg>
        <pc:spChg chg="add del mod">
          <ac:chgData name="Tường SKHĐT" userId="ab9568c39a88b08a" providerId="LiveId" clId="{34CB8DE4-BD92-49C7-8DE4-35477F9069EC}" dt="2023-06-12T09:29:22.309" v="1079" actId="21"/>
          <ac:spMkLst>
            <pc:docMk/>
            <pc:sldMk cId="1275755780" sldId="2147473857"/>
            <ac:spMk id="5" creationId="{5C100648-3E78-3A1E-A49B-7E88EE1E37A4}"/>
          </ac:spMkLst>
        </pc:spChg>
        <pc:spChg chg="add mod">
          <ac:chgData name="Tường SKHĐT" userId="ab9568c39a88b08a" providerId="LiveId" clId="{34CB8DE4-BD92-49C7-8DE4-35477F9069EC}" dt="2023-06-12T09:29:30.468" v="1081" actId="1076"/>
          <ac:spMkLst>
            <pc:docMk/>
            <pc:sldMk cId="1275755780" sldId="2147473857"/>
            <ac:spMk id="6" creationId="{76A791F0-8BA3-9CFF-F03C-87F8A6165FE5}"/>
          </ac:spMkLst>
        </pc:spChg>
      </pc:sldChg>
      <pc:sldChg chg="add del">
        <pc:chgData name="Tường SKHĐT" userId="ab9568c39a88b08a" providerId="LiveId" clId="{34CB8DE4-BD92-49C7-8DE4-35477F9069EC}" dt="2023-06-12T09:17:33.289" v="1071" actId="2696"/>
        <pc:sldMkLst>
          <pc:docMk/>
          <pc:sldMk cId="1803165633" sldId="2147473857"/>
        </pc:sldMkLst>
      </pc:sldChg>
      <pc:sldChg chg="add del">
        <pc:chgData name="Tường SKHĐT" userId="ab9568c39a88b08a" providerId="LiveId" clId="{34CB8DE4-BD92-49C7-8DE4-35477F9069EC}" dt="2023-06-12T08:57:45.218" v="1024" actId="2696"/>
        <pc:sldMkLst>
          <pc:docMk/>
          <pc:sldMk cId="2108301521" sldId="2147473857"/>
        </pc:sldMkLst>
      </pc:sldChg>
      <pc:sldChg chg="add del">
        <pc:chgData name="Tường SKHĐT" userId="ab9568c39a88b08a" providerId="LiveId" clId="{34CB8DE4-BD92-49C7-8DE4-35477F9069EC}" dt="2023-06-12T09:05:50.946" v="1063" actId="2696"/>
        <pc:sldMkLst>
          <pc:docMk/>
          <pc:sldMk cId="2124777055" sldId="2147473857"/>
        </pc:sldMkLst>
      </pc:sldChg>
      <pc:sldChg chg="add del">
        <pc:chgData name="Tường SKHĐT" userId="ab9568c39a88b08a" providerId="LiveId" clId="{34CB8DE4-BD92-49C7-8DE4-35477F9069EC}" dt="2023-06-12T08:59:56.211" v="1044" actId="2696"/>
        <pc:sldMkLst>
          <pc:docMk/>
          <pc:sldMk cId="2789934696" sldId="2147473857"/>
        </pc:sldMkLst>
      </pc:sldChg>
      <pc:sldChg chg="add del">
        <pc:chgData name="Tường SKHĐT" userId="ab9568c39a88b08a" providerId="LiveId" clId="{34CB8DE4-BD92-49C7-8DE4-35477F9069EC}" dt="2023-06-12T09:08:55.835" v="1067" actId="2696"/>
        <pc:sldMkLst>
          <pc:docMk/>
          <pc:sldMk cId="3191861274" sldId="2147473857"/>
        </pc:sldMkLst>
      </pc:sldChg>
      <pc:sldChg chg="add del">
        <pc:chgData name="Tường SKHĐT" userId="ab9568c39a88b08a" providerId="LiveId" clId="{34CB8DE4-BD92-49C7-8DE4-35477F9069EC}" dt="2023-06-12T08:47:14.613" v="903" actId="2696"/>
        <pc:sldMkLst>
          <pc:docMk/>
          <pc:sldMk cId="3525990481" sldId="2147473857"/>
        </pc:sldMkLst>
      </pc:sldChg>
      <pc:sldChg chg="addSp delSp modSp add mod">
        <pc:chgData name="Tường SKHĐT" userId="ab9568c39a88b08a" providerId="LiveId" clId="{34CB8DE4-BD92-49C7-8DE4-35477F9069EC}" dt="2023-06-12T09:29:57.406" v="1084"/>
        <pc:sldMkLst>
          <pc:docMk/>
          <pc:sldMk cId="2431902142" sldId="2147473858"/>
        </pc:sldMkLst>
        <pc:spChg chg="add mod">
          <ac:chgData name="Tường SKHĐT" userId="ab9568c39a88b08a" providerId="LiveId" clId="{34CB8DE4-BD92-49C7-8DE4-35477F9069EC}" dt="2023-06-12T09:29:57.406" v="1084"/>
          <ac:spMkLst>
            <pc:docMk/>
            <pc:sldMk cId="2431902142" sldId="2147473858"/>
            <ac:spMk id="2" creationId="{8C82F918-033C-84A0-3FB3-983E0D5E4089}"/>
          </ac:spMkLst>
        </pc:spChg>
        <pc:spChg chg="del">
          <ac:chgData name="Tường SKHĐT" userId="ab9568c39a88b08a" providerId="LiveId" clId="{34CB8DE4-BD92-49C7-8DE4-35477F9069EC}" dt="2023-06-12T09:29:52.694" v="1083" actId="21"/>
          <ac:spMkLst>
            <pc:docMk/>
            <pc:sldMk cId="2431902142" sldId="2147473858"/>
            <ac:spMk id="25" creationId="{01DC26C3-E6F4-C27A-8624-3A65D81B6008}"/>
          </ac:spMkLst>
        </pc:spChg>
      </pc:sldChg>
      <pc:sldChg chg="addSp delSp modSp add mod">
        <pc:chgData name="Tường SKHĐT" userId="ab9568c39a88b08a" providerId="LiveId" clId="{34CB8DE4-BD92-49C7-8DE4-35477F9069EC}" dt="2023-06-12T09:30:16.128" v="1087"/>
        <pc:sldMkLst>
          <pc:docMk/>
          <pc:sldMk cId="2423476542" sldId="2147473859"/>
        </pc:sldMkLst>
        <pc:spChg chg="add mod">
          <ac:chgData name="Tường SKHĐT" userId="ab9568c39a88b08a" providerId="LiveId" clId="{34CB8DE4-BD92-49C7-8DE4-35477F9069EC}" dt="2023-06-12T09:30:16.128" v="1087"/>
          <ac:spMkLst>
            <pc:docMk/>
            <pc:sldMk cId="2423476542" sldId="2147473859"/>
            <ac:spMk id="2" creationId="{4E4A5F7E-2164-5EF9-C897-EA8E3B455DCF}"/>
          </ac:spMkLst>
        </pc:spChg>
        <pc:spChg chg="del">
          <ac:chgData name="Tường SKHĐT" userId="ab9568c39a88b08a" providerId="LiveId" clId="{34CB8DE4-BD92-49C7-8DE4-35477F9069EC}" dt="2023-06-12T09:30:07.529" v="1085" actId="21"/>
          <ac:spMkLst>
            <pc:docMk/>
            <pc:sldMk cId="2423476542" sldId="2147473859"/>
            <ac:spMk id="25" creationId="{01DC26C3-E6F4-C27A-8624-3A65D81B6008}"/>
          </ac:spMkLst>
        </pc:spChg>
      </pc:sldChg>
    </pc:docChg>
  </pc:docChgLst>
  <pc:docChgLst>
    <pc:chgData name="Tường SKHĐT" userId="ab9568c39a88b08a" providerId="LiveId" clId="{468EA6DF-2E41-4AB7-BC17-25D2820E2B52}"/>
    <pc:docChg chg="undo custSel addSld delSld modSld sldOrd">
      <pc:chgData name="Tường SKHĐT" userId="ab9568c39a88b08a" providerId="LiveId" clId="{468EA6DF-2E41-4AB7-BC17-25D2820E2B52}" dt="2023-04-03T11:15:45.149" v="299" actId="14100"/>
      <pc:docMkLst>
        <pc:docMk/>
      </pc:docMkLst>
      <pc:sldChg chg="modSp mod">
        <pc:chgData name="Tường SKHĐT" userId="ab9568c39a88b08a" providerId="LiveId" clId="{468EA6DF-2E41-4AB7-BC17-25D2820E2B52}" dt="2023-04-03T11:15:45.149" v="299" actId="14100"/>
        <pc:sldMkLst>
          <pc:docMk/>
          <pc:sldMk cId="1786243308" sldId="2147473545"/>
        </pc:sldMkLst>
        <pc:graphicFrameChg chg="mod modGraphic">
          <ac:chgData name="Tường SKHĐT" userId="ab9568c39a88b08a" providerId="LiveId" clId="{468EA6DF-2E41-4AB7-BC17-25D2820E2B52}" dt="2023-04-03T11:15:45.149" v="299" actId="14100"/>
          <ac:graphicFrameMkLst>
            <pc:docMk/>
            <pc:sldMk cId="1786243308" sldId="2147473545"/>
            <ac:graphicFrameMk id="8" creationId="{B5E5335D-2EED-82AF-3A59-FAE8BB94EAE1}"/>
          </ac:graphicFrameMkLst>
        </pc:graphicFrameChg>
      </pc:sldChg>
      <pc:sldChg chg="modSp mod">
        <pc:chgData name="Tường SKHĐT" userId="ab9568c39a88b08a" providerId="LiveId" clId="{468EA6DF-2E41-4AB7-BC17-25D2820E2B52}" dt="2023-04-03T11:00:38.028" v="287" actId="1076"/>
        <pc:sldMkLst>
          <pc:docMk/>
          <pc:sldMk cId="1163171153" sldId="2147473582"/>
        </pc:sldMkLst>
        <pc:spChg chg="mod">
          <ac:chgData name="Tường SKHĐT" userId="ab9568c39a88b08a" providerId="LiveId" clId="{468EA6DF-2E41-4AB7-BC17-25D2820E2B52}" dt="2023-04-03T11:00:38.028" v="287" actId="1076"/>
          <ac:spMkLst>
            <pc:docMk/>
            <pc:sldMk cId="1163171153" sldId="2147473582"/>
            <ac:spMk id="2" creationId="{A49FA47D-1679-133E-0301-5CFB76FC4F8D}"/>
          </ac:spMkLst>
        </pc:spChg>
        <pc:graphicFrameChg chg="mod">
          <ac:chgData name="Tường SKHĐT" userId="ab9568c39a88b08a" providerId="LiveId" clId="{468EA6DF-2E41-4AB7-BC17-25D2820E2B52}" dt="2023-04-03T11:00:24.420" v="280" actId="1076"/>
          <ac:graphicFrameMkLst>
            <pc:docMk/>
            <pc:sldMk cId="1163171153" sldId="2147473582"/>
            <ac:graphicFrameMk id="13" creationId="{BA133DC1-3B7F-1EF5-AC03-623DAED491B9}"/>
          </ac:graphicFrameMkLst>
        </pc:graphicFrameChg>
        <pc:picChg chg="mod">
          <ac:chgData name="Tường SKHĐT" userId="ab9568c39a88b08a" providerId="LiveId" clId="{468EA6DF-2E41-4AB7-BC17-25D2820E2B52}" dt="2023-04-03T11:00:29.174" v="283" actId="1076"/>
          <ac:picMkLst>
            <pc:docMk/>
            <pc:sldMk cId="1163171153" sldId="2147473582"/>
            <ac:picMk id="5" creationId="{36D40177-B5F5-4CD7-89E9-D49ADE361564}"/>
          </ac:picMkLst>
        </pc:picChg>
        <pc:picChg chg="mod">
          <ac:chgData name="Tường SKHĐT" userId="ab9568c39a88b08a" providerId="LiveId" clId="{468EA6DF-2E41-4AB7-BC17-25D2820E2B52}" dt="2023-04-03T11:00:36.144" v="286" actId="1076"/>
          <ac:picMkLst>
            <pc:docMk/>
            <pc:sldMk cId="1163171153" sldId="2147473582"/>
            <ac:picMk id="8" creationId="{83D3B8D5-360E-E1E0-FC28-3F5272FBAFB5}"/>
          </ac:picMkLst>
        </pc:picChg>
      </pc:sldChg>
      <pc:sldChg chg="addSp delSp mod">
        <pc:chgData name="Tường SKHĐT" userId="ab9568c39a88b08a" providerId="LiveId" clId="{468EA6DF-2E41-4AB7-BC17-25D2820E2B52}" dt="2023-04-03T10:31:34.878" v="65"/>
        <pc:sldMkLst>
          <pc:docMk/>
          <pc:sldMk cId="2981393660" sldId="2147473641"/>
        </pc:sldMkLst>
        <pc:graphicFrameChg chg="del">
          <ac:chgData name="Tường SKHĐT" userId="ab9568c39a88b08a" providerId="LiveId" clId="{468EA6DF-2E41-4AB7-BC17-25D2820E2B52}" dt="2023-04-03T10:29:21.269" v="59" actId="21"/>
          <ac:graphicFrameMkLst>
            <pc:docMk/>
            <pc:sldMk cId="2981393660" sldId="2147473641"/>
            <ac:graphicFrameMk id="2" creationId="{6B7B0C66-0A6E-B07E-2C02-8CE030F266C7}"/>
          </ac:graphicFrameMkLst>
        </pc:graphicFrameChg>
        <pc:graphicFrameChg chg="add del">
          <ac:chgData name="Tường SKHĐT" userId="ab9568c39a88b08a" providerId="LiveId" clId="{468EA6DF-2E41-4AB7-BC17-25D2820E2B52}" dt="2023-04-03T10:31:34.878" v="65"/>
          <ac:graphicFrameMkLst>
            <pc:docMk/>
            <pc:sldMk cId="2981393660" sldId="2147473641"/>
            <ac:graphicFrameMk id="3" creationId="{EB582734-3D1D-43AA-2177-24D77ED8C8F5}"/>
          </ac:graphicFrameMkLst>
        </pc:graphicFrameChg>
      </pc:sldChg>
      <pc:sldChg chg="delSp modSp mod ord">
        <pc:chgData name="Tường SKHĐT" userId="ab9568c39a88b08a" providerId="LiveId" clId="{468EA6DF-2E41-4AB7-BC17-25D2820E2B52}" dt="2023-04-03T10:13:11.170" v="49" actId="1076"/>
        <pc:sldMkLst>
          <pc:docMk/>
          <pc:sldMk cId="445558377" sldId="2147473666"/>
        </pc:sldMkLst>
        <pc:spChg chg="mod">
          <ac:chgData name="Tường SKHĐT" userId="ab9568c39a88b08a" providerId="LiveId" clId="{468EA6DF-2E41-4AB7-BC17-25D2820E2B52}" dt="2023-04-03T10:11:16.840" v="36" actId="1076"/>
          <ac:spMkLst>
            <pc:docMk/>
            <pc:sldMk cId="445558377" sldId="2147473666"/>
            <ac:spMk id="5" creationId="{C0C8210D-ACF3-B4D8-583B-6475338AFF81}"/>
          </ac:spMkLst>
        </pc:spChg>
        <pc:graphicFrameChg chg="del mod">
          <ac:chgData name="Tường SKHĐT" userId="ab9568c39a88b08a" providerId="LiveId" clId="{468EA6DF-2E41-4AB7-BC17-25D2820E2B52}" dt="2023-04-03T10:10:56.162" v="31" actId="21"/>
          <ac:graphicFrameMkLst>
            <pc:docMk/>
            <pc:sldMk cId="445558377" sldId="2147473666"/>
            <ac:graphicFrameMk id="4" creationId="{AD24F002-E2A8-9D8A-9D15-9BC5C931138E}"/>
          </ac:graphicFrameMkLst>
        </pc:graphicFrameChg>
        <pc:graphicFrameChg chg="del mod">
          <ac:chgData name="Tường SKHĐT" userId="ab9568c39a88b08a" providerId="LiveId" clId="{468EA6DF-2E41-4AB7-BC17-25D2820E2B52}" dt="2023-04-03T10:12:26.921" v="44" actId="21"/>
          <ac:graphicFrameMkLst>
            <pc:docMk/>
            <pc:sldMk cId="445558377" sldId="2147473666"/>
            <ac:graphicFrameMk id="6" creationId="{803684F6-1F84-4793-3D12-BF38A1B5C8EF}"/>
          </ac:graphicFrameMkLst>
        </pc:graphicFrameChg>
        <pc:graphicFrameChg chg="del mod">
          <ac:chgData name="Tường SKHĐT" userId="ab9568c39a88b08a" providerId="LiveId" clId="{468EA6DF-2E41-4AB7-BC17-25D2820E2B52}" dt="2023-04-03T10:06:05.443" v="25" actId="21"/>
          <ac:graphicFrameMkLst>
            <pc:docMk/>
            <pc:sldMk cId="445558377" sldId="2147473666"/>
            <ac:graphicFrameMk id="7" creationId="{00000000-0000-0000-0000-000000000000}"/>
          </ac:graphicFrameMkLst>
        </pc:graphicFrameChg>
        <pc:graphicFrameChg chg="mod">
          <ac:chgData name="Tường SKHĐT" userId="ab9568c39a88b08a" providerId="LiveId" clId="{468EA6DF-2E41-4AB7-BC17-25D2820E2B52}" dt="2023-04-03T10:13:11.170" v="49" actId="1076"/>
          <ac:graphicFrameMkLst>
            <pc:docMk/>
            <pc:sldMk cId="445558377" sldId="2147473666"/>
            <ac:graphicFrameMk id="8" creationId="{13AB1E53-A30A-87BC-F3CD-9ED7D90E3725}"/>
          </ac:graphicFrameMkLst>
        </pc:graphicFrameChg>
      </pc:sldChg>
      <pc:sldChg chg="delSp modSp mod">
        <pc:chgData name="Tường SKHĐT" userId="ab9568c39a88b08a" providerId="LiveId" clId="{468EA6DF-2E41-4AB7-BC17-25D2820E2B52}" dt="2023-04-03T10:13:34.220" v="51" actId="14100"/>
        <pc:sldMkLst>
          <pc:docMk/>
          <pc:sldMk cId="303836013" sldId="2147473667"/>
        </pc:sldMkLst>
        <pc:spChg chg="mod">
          <ac:chgData name="Tường SKHĐT" userId="ab9568c39a88b08a" providerId="LiveId" clId="{468EA6DF-2E41-4AB7-BC17-25D2820E2B52}" dt="2023-04-03T10:11:50.712" v="43" actId="1076"/>
          <ac:spMkLst>
            <pc:docMk/>
            <pc:sldMk cId="303836013" sldId="2147473667"/>
            <ac:spMk id="5" creationId="{C8E34A42-ACA3-CC53-52CA-7B9FB0477D40}"/>
          </ac:spMkLst>
        </pc:spChg>
        <pc:graphicFrameChg chg="del">
          <ac:chgData name="Tường SKHĐT" userId="ab9568c39a88b08a" providerId="LiveId" clId="{468EA6DF-2E41-4AB7-BC17-25D2820E2B52}" dt="2023-04-03T10:06:09.632" v="26" actId="21"/>
          <ac:graphicFrameMkLst>
            <pc:docMk/>
            <pc:sldMk cId="303836013" sldId="2147473667"/>
            <ac:graphicFrameMk id="3" creationId="{00000000-0000-0000-0000-000000000000}"/>
          </ac:graphicFrameMkLst>
        </pc:graphicFrameChg>
        <pc:graphicFrameChg chg="del mod">
          <ac:chgData name="Tường SKHĐT" userId="ab9568c39a88b08a" providerId="LiveId" clId="{468EA6DF-2E41-4AB7-BC17-25D2820E2B52}" dt="2023-04-03T10:12:29.755" v="45" actId="21"/>
          <ac:graphicFrameMkLst>
            <pc:docMk/>
            <pc:sldMk cId="303836013" sldId="2147473667"/>
            <ac:graphicFrameMk id="6" creationId="{915A1CDC-C75B-7968-89D0-F515191018CB}"/>
          </ac:graphicFrameMkLst>
        </pc:graphicFrameChg>
        <pc:graphicFrameChg chg="mod">
          <ac:chgData name="Tường SKHĐT" userId="ab9568c39a88b08a" providerId="LiveId" clId="{468EA6DF-2E41-4AB7-BC17-25D2820E2B52}" dt="2023-04-03T10:13:34.220" v="51" actId="14100"/>
          <ac:graphicFrameMkLst>
            <pc:docMk/>
            <pc:sldMk cId="303836013" sldId="2147473667"/>
            <ac:graphicFrameMk id="7" creationId="{4EA0615B-314E-96FF-3684-4E3698F2B169}"/>
          </ac:graphicFrameMkLst>
        </pc:graphicFrameChg>
      </pc:sldChg>
      <pc:sldChg chg="delSp modSp mod">
        <pc:chgData name="Tường SKHĐT" userId="ab9568c39a88b08a" providerId="LiveId" clId="{468EA6DF-2E41-4AB7-BC17-25D2820E2B52}" dt="2023-04-03T10:14:21.510" v="57" actId="14100"/>
        <pc:sldMkLst>
          <pc:docMk/>
          <pc:sldMk cId="1635743029" sldId="2147473668"/>
        </pc:sldMkLst>
        <pc:spChg chg="mod">
          <ac:chgData name="Tường SKHĐT" userId="ab9568c39a88b08a" providerId="LiveId" clId="{468EA6DF-2E41-4AB7-BC17-25D2820E2B52}" dt="2023-04-03T10:13:44.320" v="53" actId="1076"/>
          <ac:spMkLst>
            <pc:docMk/>
            <pc:sldMk cId="1635743029" sldId="2147473668"/>
            <ac:spMk id="5" creationId="{338B4CA8-CF1E-F27C-57B7-967F7AEFF660}"/>
          </ac:spMkLst>
        </pc:spChg>
        <pc:graphicFrameChg chg="del">
          <ac:chgData name="Tường SKHĐT" userId="ab9568c39a88b08a" providerId="LiveId" clId="{468EA6DF-2E41-4AB7-BC17-25D2820E2B52}" dt="2023-04-03T10:06:12.951" v="27" actId="21"/>
          <ac:graphicFrameMkLst>
            <pc:docMk/>
            <pc:sldMk cId="1635743029" sldId="2147473668"/>
            <ac:graphicFrameMk id="2" creationId="{00000000-0000-0000-0000-000000000000}"/>
          </ac:graphicFrameMkLst>
        </pc:graphicFrameChg>
        <pc:graphicFrameChg chg="mod">
          <ac:chgData name="Tường SKHĐT" userId="ab9568c39a88b08a" providerId="LiveId" clId="{468EA6DF-2E41-4AB7-BC17-25D2820E2B52}" dt="2023-04-03T10:14:21.510" v="57" actId="14100"/>
          <ac:graphicFrameMkLst>
            <pc:docMk/>
            <pc:sldMk cId="1635743029" sldId="2147473668"/>
            <ac:graphicFrameMk id="6" creationId="{C210AB38-1853-ACF6-3F24-D74F231775C9}"/>
          </ac:graphicFrameMkLst>
        </pc:graphicFrameChg>
      </pc:sldChg>
      <pc:sldChg chg="addSp modSp mod">
        <pc:chgData name="Tường SKHĐT" userId="ab9568c39a88b08a" providerId="LiveId" clId="{468EA6DF-2E41-4AB7-BC17-25D2820E2B52}" dt="2023-04-03T10:56:26.164" v="279" actId="20577"/>
        <pc:sldMkLst>
          <pc:docMk/>
          <pc:sldMk cId="2676458148" sldId="2147473686"/>
        </pc:sldMkLst>
        <pc:spChg chg="add mod">
          <ac:chgData name="Tường SKHĐT" userId="ab9568c39a88b08a" providerId="LiveId" clId="{468EA6DF-2E41-4AB7-BC17-25D2820E2B52}" dt="2023-04-03T10:56:26.164" v="279" actId="20577"/>
          <ac:spMkLst>
            <pc:docMk/>
            <pc:sldMk cId="2676458148" sldId="2147473686"/>
            <ac:spMk id="3" creationId="{71A1B9FE-DFCB-A29B-0AD9-F9676FA9DC8D}"/>
          </ac:spMkLst>
        </pc:spChg>
        <pc:graphicFrameChg chg="mod">
          <ac:chgData name="Tường SKHĐT" userId="ab9568c39a88b08a" providerId="LiveId" clId="{468EA6DF-2E41-4AB7-BC17-25D2820E2B52}" dt="2023-04-03T09:39:44.975" v="9" actId="1076"/>
          <ac:graphicFrameMkLst>
            <pc:docMk/>
            <pc:sldMk cId="2676458148" sldId="2147473686"/>
            <ac:graphicFrameMk id="2" creationId="{7B70EAB1-08A9-24DB-D444-B254D15A656F}"/>
          </ac:graphicFrameMkLst>
        </pc:graphicFrameChg>
        <pc:graphicFrameChg chg="mod modGraphic">
          <ac:chgData name="Tường SKHĐT" userId="ab9568c39a88b08a" providerId="LiveId" clId="{468EA6DF-2E41-4AB7-BC17-25D2820E2B52}" dt="2023-04-03T09:39:34.090" v="5" actId="1076"/>
          <ac:graphicFrameMkLst>
            <pc:docMk/>
            <pc:sldMk cId="2676458148" sldId="2147473686"/>
            <ac:graphicFrameMk id="8" creationId="{B5E5335D-2EED-82AF-3A59-FAE8BB94EAE1}"/>
          </ac:graphicFrameMkLst>
        </pc:graphicFrameChg>
        <pc:picChg chg="mod">
          <ac:chgData name="Tường SKHĐT" userId="ab9568c39a88b08a" providerId="LiveId" clId="{468EA6DF-2E41-4AB7-BC17-25D2820E2B52}" dt="2023-04-03T09:39:37.401" v="7" actId="14100"/>
          <ac:picMkLst>
            <pc:docMk/>
            <pc:sldMk cId="2676458148" sldId="2147473686"/>
            <ac:picMk id="5" creationId="{1D012F1F-2D3E-DB73-FB3D-9CF264845674}"/>
          </ac:picMkLst>
        </pc:picChg>
      </pc:sldChg>
      <pc:sldChg chg="modSp mod">
        <pc:chgData name="Tường SKHĐT" userId="ab9568c39a88b08a" providerId="LiveId" clId="{468EA6DF-2E41-4AB7-BC17-25D2820E2B52}" dt="2023-04-03T10:38:01.052" v="161" actId="20577"/>
        <pc:sldMkLst>
          <pc:docMk/>
          <pc:sldMk cId="2211563581" sldId="2147473695"/>
        </pc:sldMkLst>
        <pc:spChg chg="mod">
          <ac:chgData name="Tường SKHĐT" userId="ab9568c39a88b08a" providerId="LiveId" clId="{468EA6DF-2E41-4AB7-BC17-25D2820E2B52}" dt="2023-04-03T10:37:06.952" v="72" actId="20577"/>
          <ac:spMkLst>
            <pc:docMk/>
            <pc:sldMk cId="2211563581" sldId="2147473695"/>
            <ac:spMk id="3" creationId="{A0D5D58A-756E-802D-A09E-1BEA6D184E77}"/>
          </ac:spMkLst>
        </pc:spChg>
        <pc:spChg chg="mod">
          <ac:chgData name="Tường SKHĐT" userId="ab9568c39a88b08a" providerId="LiveId" clId="{468EA6DF-2E41-4AB7-BC17-25D2820E2B52}" dt="2023-04-03T10:37:19.656" v="135" actId="20577"/>
          <ac:spMkLst>
            <pc:docMk/>
            <pc:sldMk cId="2211563581" sldId="2147473695"/>
            <ac:spMk id="719" creationId="{00000000-0000-0000-0000-000000000000}"/>
          </ac:spMkLst>
        </pc:spChg>
        <pc:spChg chg="mod">
          <ac:chgData name="Tường SKHĐT" userId="ab9568c39a88b08a" providerId="LiveId" clId="{468EA6DF-2E41-4AB7-BC17-25D2820E2B52}" dt="2023-04-03T10:37:44.123" v="149" actId="20577"/>
          <ac:spMkLst>
            <pc:docMk/>
            <pc:sldMk cId="2211563581" sldId="2147473695"/>
            <ac:spMk id="720" creationId="{00000000-0000-0000-0000-000000000000}"/>
          </ac:spMkLst>
        </pc:spChg>
        <pc:spChg chg="mod">
          <ac:chgData name="Tường SKHĐT" userId="ab9568c39a88b08a" providerId="LiveId" clId="{468EA6DF-2E41-4AB7-BC17-25D2820E2B52}" dt="2023-04-03T10:38:01.052" v="161" actId="20577"/>
          <ac:spMkLst>
            <pc:docMk/>
            <pc:sldMk cId="2211563581" sldId="2147473695"/>
            <ac:spMk id="726" creationId="{00000000-0000-0000-0000-000000000000}"/>
          </ac:spMkLst>
        </pc:spChg>
      </pc:sldChg>
      <pc:sldChg chg="modSp mod">
        <pc:chgData name="Tường SKHĐT" userId="ab9568c39a88b08a" providerId="LiveId" clId="{468EA6DF-2E41-4AB7-BC17-25D2820E2B52}" dt="2023-04-03T10:32:04.225" v="67" actId="2084"/>
        <pc:sldMkLst>
          <pc:docMk/>
          <pc:sldMk cId="2166843381" sldId="2147473703"/>
        </pc:sldMkLst>
        <pc:graphicFrameChg chg="modGraphic">
          <ac:chgData name="Tường SKHĐT" userId="ab9568c39a88b08a" providerId="LiveId" clId="{468EA6DF-2E41-4AB7-BC17-25D2820E2B52}" dt="2023-04-03T10:32:04.225" v="67" actId="2084"/>
          <ac:graphicFrameMkLst>
            <pc:docMk/>
            <pc:sldMk cId="2166843381" sldId="2147473703"/>
            <ac:graphicFrameMk id="2" creationId="{00000000-0000-0000-0000-000000000000}"/>
          </ac:graphicFrameMkLst>
        </pc:graphicFrameChg>
      </pc:sldChg>
      <pc:sldChg chg="del">
        <pc:chgData name="Tường SKHĐT" userId="ab9568c39a88b08a" providerId="LiveId" clId="{468EA6DF-2E41-4AB7-BC17-25D2820E2B52}" dt="2023-04-03T10:39:13.364" v="163" actId="2696"/>
        <pc:sldMkLst>
          <pc:docMk/>
          <pc:sldMk cId="3902886966" sldId="2147473716"/>
        </pc:sldMkLst>
      </pc:sldChg>
      <pc:sldChg chg="del">
        <pc:chgData name="Tường SKHĐT" userId="ab9568c39a88b08a" providerId="LiveId" clId="{468EA6DF-2E41-4AB7-BC17-25D2820E2B52}" dt="2023-04-03T10:39:15.411" v="164" actId="2696"/>
        <pc:sldMkLst>
          <pc:docMk/>
          <pc:sldMk cId="786884168" sldId="2147473717"/>
        </pc:sldMkLst>
      </pc:sldChg>
      <pc:sldChg chg="addSp modSp mod">
        <pc:chgData name="Tường SKHĐT" userId="ab9568c39a88b08a" providerId="LiveId" clId="{468EA6DF-2E41-4AB7-BC17-25D2820E2B52}" dt="2023-04-03T10:32:35.589" v="70" actId="1076"/>
        <pc:sldMkLst>
          <pc:docMk/>
          <pc:sldMk cId="2943774504" sldId="2147473722"/>
        </pc:sldMkLst>
        <pc:spChg chg="add mod">
          <ac:chgData name="Tường SKHĐT" userId="ab9568c39a88b08a" providerId="LiveId" clId="{468EA6DF-2E41-4AB7-BC17-25D2820E2B52}" dt="2023-04-03T10:32:35.589" v="70" actId="1076"/>
          <ac:spMkLst>
            <pc:docMk/>
            <pc:sldMk cId="2943774504" sldId="2147473722"/>
            <ac:spMk id="2" creationId="{9A34755F-0630-CF92-2EDF-08D86E7905CA}"/>
          </ac:spMkLst>
        </pc:spChg>
        <pc:graphicFrameChg chg="mod">
          <ac:chgData name="Tường SKHĐT" userId="ab9568c39a88b08a" providerId="LiveId" clId="{468EA6DF-2E41-4AB7-BC17-25D2820E2B52}" dt="2023-04-03T10:32:33.125" v="69" actId="1076"/>
          <ac:graphicFrameMkLst>
            <pc:docMk/>
            <pc:sldMk cId="2943774504" sldId="2147473722"/>
            <ac:graphicFrameMk id="10" creationId="{4DA33CA2-D53A-5909-6F0A-1CAF1ED730EB}"/>
          </ac:graphicFrameMkLst>
        </pc:graphicFrameChg>
      </pc:sldChg>
      <pc:sldChg chg="add">
        <pc:chgData name="Tường SKHĐT" userId="ab9568c39a88b08a" providerId="LiveId" clId="{468EA6DF-2E41-4AB7-BC17-25D2820E2B52}" dt="2023-04-03T10:39:10.202" v="162"/>
        <pc:sldMkLst>
          <pc:docMk/>
          <pc:sldMk cId="1052792772" sldId="2147473723"/>
        </pc:sldMkLst>
      </pc:sldChg>
      <pc:sldChg chg="add del">
        <pc:chgData name="Tường SKHĐT" userId="ab9568c39a88b08a" providerId="LiveId" clId="{468EA6DF-2E41-4AB7-BC17-25D2820E2B52}" dt="2023-04-03T10:21:15.357" v="58" actId="2696"/>
        <pc:sldMkLst>
          <pc:docMk/>
          <pc:sldMk cId="3877960572" sldId="2147473723"/>
        </pc:sldMkLst>
      </pc:sldChg>
      <pc:sldChg chg="add del replId">
        <pc:chgData name="Tường SKHĐT" userId="ab9568c39a88b08a" providerId="LiveId" clId="{468EA6DF-2E41-4AB7-BC17-25D2820E2B52}" dt="2023-04-03T10:21:15.357" v="58" actId="2696"/>
        <pc:sldMkLst>
          <pc:docMk/>
          <pc:sldMk cId="1675512132" sldId="2147473724"/>
        </pc:sldMkLst>
      </pc:sldChg>
      <pc:sldChg chg="add">
        <pc:chgData name="Tường SKHĐT" userId="ab9568c39a88b08a" providerId="LiveId" clId="{468EA6DF-2E41-4AB7-BC17-25D2820E2B52}" dt="2023-04-03T10:39:10.202" v="162"/>
        <pc:sldMkLst>
          <pc:docMk/>
          <pc:sldMk cId="3515261572" sldId="2147473724"/>
        </pc:sldMkLst>
      </pc:sldChg>
      <pc:sldChg chg="add del replId">
        <pc:chgData name="Tường SKHĐT" userId="ab9568c39a88b08a" providerId="LiveId" clId="{468EA6DF-2E41-4AB7-BC17-25D2820E2B52}" dt="2023-04-03T10:21:15.357" v="58" actId="2696"/>
        <pc:sldMkLst>
          <pc:docMk/>
          <pc:sldMk cId="3735205963" sldId="2147473725"/>
        </pc:sldMkLst>
      </pc:sldChg>
    </pc:docChg>
  </pc:docChgLst>
  <pc:docChgLst>
    <pc:chgData name="Tường SKHĐT" userId="ab9568c39a88b08a" providerId="LiveId" clId="{209500A2-46D0-4A60-8122-7A5CF9743D09}"/>
    <pc:docChg chg="undo custSel addSld delSld modSld">
      <pc:chgData name="Tường SKHĐT" userId="ab9568c39a88b08a" providerId="LiveId" clId="{209500A2-46D0-4A60-8122-7A5CF9743D09}" dt="2023-05-26T08:45:26.580" v="1020" actId="2696"/>
      <pc:docMkLst>
        <pc:docMk/>
      </pc:docMkLst>
      <pc:sldChg chg="modSp mod">
        <pc:chgData name="Tường SKHĐT" userId="ab9568c39a88b08a" providerId="LiveId" clId="{209500A2-46D0-4A60-8122-7A5CF9743D09}" dt="2023-05-26T08:26:37.828" v="715" actId="20577"/>
        <pc:sldMkLst>
          <pc:docMk/>
          <pc:sldMk cId="2056297670" sldId="296"/>
        </pc:sldMkLst>
        <pc:spChg chg="mod">
          <ac:chgData name="Tường SKHĐT" userId="ab9568c39a88b08a" providerId="LiveId" clId="{209500A2-46D0-4A60-8122-7A5CF9743D09}" dt="2023-05-26T04:29:36.828" v="112" actId="2711"/>
          <ac:spMkLst>
            <pc:docMk/>
            <pc:sldMk cId="2056297670" sldId="296"/>
            <ac:spMk id="3" creationId="{00000000-0000-0000-0000-000000000000}"/>
          </ac:spMkLst>
        </pc:spChg>
        <pc:spChg chg="mod">
          <ac:chgData name="Tường SKHĐT" userId="ab9568c39a88b08a" providerId="LiveId" clId="{209500A2-46D0-4A60-8122-7A5CF9743D09}" dt="2023-05-26T08:26:37.828" v="715" actId="20577"/>
          <ac:spMkLst>
            <pc:docMk/>
            <pc:sldMk cId="2056297670" sldId="296"/>
            <ac:spMk id="4" creationId="{8EFF4EA8-28C1-48CF-3ECE-7B6110C48EE1}"/>
          </ac:spMkLst>
        </pc:spChg>
        <pc:spChg chg="mod">
          <ac:chgData name="Tường SKHĐT" userId="ab9568c39a88b08a" providerId="LiveId" clId="{209500A2-46D0-4A60-8122-7A5CF9743D09}" dt="2023-05-26T08:20:00.344" v="691" actId="20577"/>
          <ac:spMkLst>
            <pc:docMk/>
            <pc:sldMk cId="2056297670" sldId="296"/>
            <ac:spMk id="5" creationId="{F53865BE-6EAA-9FED-752A-6D16ED8C7445}"/>
          </ac:spMkLst>
        </pc:spChg>
      </pc:sldChg>
      <pc:sldChg chg="modSp mod">
        <pc:chgData name="Tường SKHĐT" userId="ab9568c39a88b08a" providerId="LiveId" clId="{209500A2-46D0-4A60-8122-7A5CF9743D09}" dt="2023-05-26T08:26:34.669" v="712" actId="20577"/>
        <pc:sldMkLst>
          <pc:docMk/>
          <pc:sldMk cId="1167827339" sldId="312"/>
        </pc:sldMkLst>
        <pc:spChg chg="mod">
          <ac:chgData name="Tường SKHĐT" userId="ab9568c39a88b08a" providerId="LiveId" clId="{209500A2-46D0-4A60-8122-7A5CF9743D09}" dt="2023-05-26T08:06:07.240" v="356" actId="20577"/>
          <ac:spMkLst>
            <pc:docMk/>
            <pc:sldMk cId="1167827339" sldId="312"/>
            <ac:spMk id="4" creationId="{59D74D8D-0C56-A9C6-38A6-09BBBEF557F3}"/>
          </ac:spMkLst>
        </pc:spChg>
        <pc:spChg chg="mod">
          <ac:chgData name="Tường SKHĐT" userId="ab9568c39a88b08a" providerId="LiveId" clId="{209500A2-46D0-4A60-8122-7A5CF9743D09}" dt="2023-05-26T08:07:02.743" v="395" actId="403"/>
          <ac:spMkLst>
            <pc:docMk/>
            <pc:sldMk cId="1167827339" sldId="312"/>
            <ac:spMk id="6" creationId="{070843E9-E11E-EAA4-1CCE-869292A47699}"/>
          </ac:spMkLst>
        </pc:spChg>
        <pc:spChg chg="mod">
          <ac:chgData name="Tường SKHĐT" userId="ab9568c39a88b08a" providerId="LiveId" clId="{209500A2-46D0-4A60-8122-7A5CF9743D09}" dt="2023-05-26T08:06:19.434" v="372" actId="20577"/>
          <ac:spMkLst>
            <pc:docMk/>
            <pc:sldMk cId="1167827339" sldId="312"/>
            <ac:spMk id="14" creationId="{012FCB13-2966-655B-3E6B-26B89259D763}"/>
          </ac:spMkLst>
        </pc:spChg>
        <pc:spChg chg="mod">
          <ac:chgData name="Tường SKHĐT" userId="ab9568c39a88b08a" providerId="LiveId" clId="{209500A2-46D0-4A60-8122-7A5CF9743D09}" dt="2023-05-26T08:26:34.669" v="712" actId="20577"/>
          <ac:spMkLst>
            <pc:docMk/>
            <pc:sldMk cId="1167827339" sldId="312"/>
            <ac:spMk id="16" creationId="{B2AE0816-E3F0-2A38-A771-526A586C6492}"/>
          </ac:spMkLst>
        </pc:spChg>
        <pc:spChg chg="mod">
          <ac:chgData name="Tường SKHĐT" userId="ab9568c39a88b08a" providerId="LiveId" clId="{209500A2-46D0-4A60-8122-7A5CF9743D09}" dt="2023-05-26T08:20:03.248" v="692" actId="20577"/>
          <ac:spMkLst>
            <pc:docMk/>
            <pc:sldMk cId="1167827339" sldId="312"/>
            <ac:spMk id="17" creationId="{ABDAFB93-63EF-7B44-9F8D-34E91B303021}"/>
          </ac:spMkLst>
        </pc:spChg>
        <pc:spChg chg="mod">
          <ac:chgData name="Tường SKHĐT" userId="ab9568c39a88b08a" providerId="LiveId" clId="{209500A2-46D0-4A60-8122-7A5CF9743D09}" dt="2023-05-26T08:06:59" v="392" actId="403"/>
          <ac:spMkLst>
            <pc:docMk/>
            <pc:sldMk cId="1167827339" sldId="312"/>
            <ac:spMk id="28" creationId="{5BD82E29-7F38-7121-0BDE-4B57F6FB9C64}"/>
          </ac:spMkLst>
        </pc:spChg>
        <pc:spChg chg="mod">
          <ac:chgData name="Tường SKHĐT" userId="ab9568c39a88b08a" providerId="LiveId" clId="{209500A2-46D0-4A60-8122-7A5CF9743D09}" dt="2023-05-26T08:05:53.361" v="335" actId="20577"/>
          <ac:spMkLst>
            <pc:docMk/>
            <pc:sldMk cId="1167827339" sldId="312"/>
            <ac:spMk id="29" creationId="{87785BE8-8D2C-34AD-3528-6DEFFB1C2187}"/>
          </ac:spMkLst>
        </pc:spChg>
        <pc:spChg chg="mod">
          <ac:chgData name="Tường SKHĐT" userId="ab9568c39a88b08a" providerId="LiveId" clId="{209500A2-46D0-4A60-8122-7A5CF9743D09}" dt="2023-05-26T08:07:07.158" v="398" actId="403"/>
          <ac:spMkLst>
            <pc:docMk/>
            <pc:sldMk cId="1167827339" sldId="312"/>
            <ac:spMk id="32" creationId="{BA5DABAD-7DB7-85BC-1C62-09803A1F7DD6}"/>
          </ac:spMkLst>
        </pc:spChg>
        <pc:spChg chg="mod">
          <ac:chgData name="Tường SKHĐT" userId="ab9568c39a88b08a" providerId="LiveId" clId="{209500A2-46D0-4A60-8122-7A5CF9743D09}" dt="2023-05-26T08:06:54.077" v="389" actId="403"/>
          <ac:spMkLst>
            <pc:docMk/>
            <pc:sldMk cId="1167827339" sldId="312"/>
            <ac:spMk id="37" creationId="{AD8E6693-4876-0F97-216B-C82F5C0BBF88}"/>
          </ac:spMkLst>
        </pc:spChg>
        <pc:spChg chg="mod">
          <ac:chgData name="Tường SKHĐT" userId="ab9568c39a88b08a" providerId="LiveId" clId="{209500A2-46D0-4A60-8122-7A5CF9743D09}" dt="2023-05-26T08:05:31.528" v="314" actId="20577"/>
          <ac:spMkLst>
            <pc:docMk/>
            <pc:sldMk cId="1167827339" sldId="312"/>
            <ac:spMk id="39" creationId="{E730890D-28F6-AD79-64B4-53EDC9842AEC}"/>
          </ac:spMkLst>
        </pc:spChg>
      </pc:sldChg>
      <pc:sldChg chg="modSp mod">
        <pc:chgData name="Tường SKHĐT" userId="ab9568c39a88b08a" providerId="LiveId" clId="{209500A2-46D0-4A60-8122-7A5CF9743D09}" dt="2023-05-26T08:27:06.547" v="746" actId="20577"/>
        <pc:sldMkLst>
          <pc:docMk/>
          <pc:sldMk cId="3898226705" sldId="2147468741"/>
        </pc:sldMkLst>
        <pc:spChg chg="mod">
          <ac:chgData name="Tường SKHĐT" userId="ab9568c39a88b08a" providerId="LiveId" clId="{209500A2-46D0-4A60-8122-7A5CF9743D09}" dt="2023-05-26T08:27:06.547" v="746" actId="20577"/>
          <ac:spMkLst>
            <pc:docMk/>
            <pc:sldMk cId="3898226705" sldId="2147468741"/>
            <ac:spMk id="4" creationId="{A8ED73C0-6DEB-F036-A81D-A84B4FA62951}"/>
          </ac:spMkLst>
        </pc:spChg>
      </pc:sldChg>
      <pc:sldChg chg="del">
        <pc:chgData name="Tường SKHĐT" userId="ab9568c39a88b08a" providerId="LiveId" clId="{209500A2-46D0-4A60-8122-7A5CF9743D09}" dt="2023-05-26T04:29:20.986" v="110" actId="2696"/>
        <pc:sldMkLst>
          <pc:docMk/>
          <pc:sldMk cId="2957479116" sldId="2147473519"/>
        </pc:sldMkLst>
      </pc:sldChg>
      <pc:sldChg chg="delSp modSp mod">
        <pc:chgData name="Tường SKHĐT" userId="ab9568c39a88b08a" providerId="LiveId" clId="{209500A2-46D0-4A60-8122-7A5CF9743D09}" dt="2023-05-26T08:20:22.952" v="706" actId="20577"/>
        <pc:sldMkLst>
          <pc:docMk/>
          <pc:sldMk cId="2307671257" sldId="2147473521"/>
        </pc:sldMkLst>
        <pc:spChg chg="del">
          <ac:chgData name="Tường SKHĐT" userId="ab9568c39a88b08a" providerId="LiveId" clId="{209500A2-46D0-4A60-8122-7A5CF9743D09}" dt="2023-05-26T08:07:55.268" v="406" actId="21"/>
          <ac:spMkLst>
            <pc:docMk/>
            <pc:sldMk cId="2307671257" sldId="2147473521"/>
            <ac:spMk id="4" creationId="{ADE6BF35-16A7-A743-965C-BA2A5B5DBD6A}"/>
          </ac:spMkLst>
        </pc:spChg>
        <pc:spChg chg="mod">
          <ac:chgData name="Tường SKHĐT" userId="ab9568c39a88b08a" providerId="LiveId" clId="{209500A2-46D0-4A60-8122-7A5CF9743D09}" dt="2023-05-26T08:20:22.952" v="706" actId="20577"/>
          <ac:spMkLst>
            <pc:docMk/>
            <pc:sldMk cId="2307671257" sldId="2147473521"/>
            <ac:spMk id="25" creationId="{01DC26C3-E6F4-C27A-8624-3A65D81B6008}"/>
          </ac:spMkLst>
        </pc:spChg>
      </pc:sldChg>
      <pc:sldChg chg="delSp modSp mod">
        <pc:chgData name="Tường SKHĐT" userId="ab9568c39a88b08a" providerId="LiveId" clId="{209500A2-46D0-4A60-8122-7A5CF9743D09}" dt="2023-05-26T08:20:28.238" v="708" actId="20577"/>
        <pc:sldMkLst>
          <pc:docMk/>
          <pc:sldMk cId="2802465441" sldId="2147473522"/>
        </pc:sldMkLst>
        <pc:spChg chg="del">
          <ac:chgData name="Tường SKHĐT" userId="ab9568c39a88b08a" providerId="LiveId" clId="{209500A2-46D0-4A60-8122-7A5CF9743D09}" dt="2023-05-26T08:07:47.738" v="404" actId="21"/>
          <ac:spMkLst>
            <pc:docMk/>
            <pc:sldMk cId="2802465441" sldId="2147473522"/>
            <ac:spMk id="4" creationId="{E8DDE1F8-4CE2-58DF-A7B4-A77D18CA9FEB}"/>
          </ac:spMkLst>
        </pc:spChg>
        <pc:spChg chg="mod">
          <ac:chgData name="Tường SKHĐT" userId="ab9568c39a88b08a" providerId="LiveId" clId="{209500A2-46D0-4A60-8122-7A5CF9743D09}" dt="2023-05-26T08:20:28.238" v="708" actId="20577"/>
          <ac:spMkLst>
            <pc:docMk/>
            <pc:sldMk cId="2802465441" sldId="2147473522"/>
            <ac:spMk id="25" creationId="{01DC26C3-E6F4-C27A-8624-3A65D81B6008}"/>
          </ac:spMkLst>
        </pc:spChg>
        <pc:graphicFrameChg chg="mod modGraphic">
          <ac:chgData name="Tường SKHĐT" userId="ab9568c39a88b08a" providerId="LiveId" clId="{209500A2-46D0-4A60-8122-7A5CF9743D09}" dt="2023-05-26T08:08:19.097" v="411" actId="1076"/>
          <ac:graphicFrameMkLst>
            <pc:docMk/>
            <pc:sldMk cId="2802465441" sldId="2147473522"/>
            <ac:graphicFrameMk id="9" creationId="{0FC7DBA8-03B5-1D5D-B7A1-68AA6F62DF7E}"/>
          </ac:graphicFrameMkLst>
        </pc:graphicFrameChg>
        <pc:picChg chg="mod">
          <ac:chgData name="Tường SKHĐT" userId="ab9568c39a88b08a" providerId="LiveId" clId="{209500A2-46D0-4A60-8122-7A5CF9743D09}" dt="2023-05-26T04:30:36.780" v="116" actId="1076"/>
          <ac:picMkLst>
            <pc:docMk/>
            <pc:sldMk cId="2802465441" sldId="2147473522"/>
            <ac:picMk id="3" creationId="{F1C86665-484F-794D-CFA7-5A2693500FE9}"/>
          </ac:picMkLst>
        </pc:picChg>
      </pc:sldChg>
      <pc:sldChg chg="delSp modSp del mod">
        <pc:chgData name="Tường SKHĐT" userId="ab9568c39a88b08a" providerId="LiveId" clId="{209500A2-46D0-4A60-8122-7A5CF9743D09}" dt="2023-05-26T08:45:26.580" v="1020" actId="2696"/>
        <pc:sldMkLst>
          <pc:docMk/>
          <pc:sldMk cId="664381054" sldId="2147473536"/>
        </pc:sldMkLst>
        <pc:spChg chg="del">
          <ac:chgData name="Tường SKHĐT" userId="ab9568c39a88b08a" providerId="LiveId" clId="{209500A2-46D0-4A60-8122-7A5CF9743D09}" dt="2023-05-26T08:27:42.926" v="752" actId="21"/>
          <ac:spMkLst>
            <pc:docMk/>
            <pc:sldMk cId="664381054" sldId="2147473536"/>
            <ac:spMk id="5" creationId="{A5E63777-D9B0-CC7C-4534-85577A499B18}"/>
          </ac:spMkLst>
        </pc:spChg>
        <pc:graphicFrameChg chg="mod">
          <ac:chgData name="Tường SKHĐT" userId="ab9568c39a88b08a" providerId="LiveId" clId="{209500A2-46D0-4A60-8122-7A5CF9743D09}" dt="2023-05-26T08:27:44.783" v="753" actId="1076"/>
          <ac:graphicFrameMkLst>
            <pc:docMk/>
            <pc:sldMk cId="664381054" sldId="2147473536"/>
            <ac:graphicFrameMk id="6" creationId="{00000000-0000-0000-0000-000000000000}"/>
          </ac:graphicFrameMkLst>
        </pc:graphicFrameChg>
        <pc:cxnChg chg="del">
          <ac:chgData name="Tường SKHĐT" userId="ab9568c39a88b08a" providerId="LiveId" clId="{209500A2-46D0-4A60-8122-7A5CF9743D09}" dt="2023-05-26T08:27:42.926" v="752" actId="21"/>
          <ac:cxnSpMkLst>
            <pc:docMk/>
            <pc:sldMk cId="664381054" sldId="2147473536"/>
            <ac:cxnSpMk id="10" creationId="{9923AE74-1EB9-B8B8-7F10-C195957B00FF}"/>
          </ac:cxnSpMkLst>
        </pc:cxnChg>
      </pc:sldChg>
      <pc:sldChg chg="delSp modSp mod">
        <pc:chgData name="Tường SKHĐT" userId="ab9568c39a88b08a" providerId="LiveId" clId="{209500A2-46D0-4A60-8122-7A5CF9743D09}" dt="2023-05-26T08:28:36.231" v="764" actId="1076"/>
        <pc:sldMkLst>
          <pc:docMk/>
          <pc:sldMk cId="1168642509" sldId="2147473537"/>
        </pc:sldMkLst>
        <pc:spChg chg="del">
          <ac:chgData name="Tường SKHĐT" userId="ab9568c39a88b08a" providerId="LiveId" clId="{209500A2-46D0-4A60-8122-7A5CF9743D09}" dt="2023-05-26T08:28:34.444" v="763" actId="21"/>
          <ac:spMkLst>
            <pc:docMk/>
            <pc:sldMk cId="1168642509" sldId="2147473537"/>
            <ac:spMk id="3" creationId="{DDCD32B3-A3FB-948B-6323-63F96EA817F8}"/>
          </ac:spMkLst>
        </pc:spChg>
        <pc:graphicFrameChg chg="mod">
          <ac:chgData name="Tường SKHĐT" userId="ab9568c39a88b08a" providerId="LiveId" clId="{209500A2-46D0-4A60-8122-7A5CF9743D09}" dt="2023-05-26T08:28:36.231" v="764" actId="1076"/>
          <ac:graphicFrameMkLst>
            <pc:docMk/>
            <pc:sldMk cId="1168642509" sldId="2147473537"/>
            <ac:graphicFrameMk id="6" creationId="{00000000-0000-0000-0000-000000000000}"/>
          </ac:graphicFrameMkLst>
        </pc:graphicFrameChg>
        <pc:cxnChg chg="del">
          <ac:chgData name="Tường SKHĐT" userId="ab9568c39a88b08a" providerId="LiveId" clId="{209500A2-46D0-4A60-8122-7A5CF9743D09}" dt="2023-05-26T08:28:34.444" v="763" actId="21"/>
          <ac:cxnSpMkLst>
            <pc:docMk/>
            <pc:sldMk cId="1168642509" sldId="2147473537"/>
            <ac:cxnSpMk id="5" creationId="{A250599A-DC75-597C-6156-E69FFFB3F75E}"/>
          </ac:cxnSpMkLst>
        </pc:cxnChg>
      </pc:sldChg>
      <pc:sldChg chg="delSp modSp mod">
        <pc:chgData name="Tường SKHĐT" userId="ab9568c39a88b08a" providerId="LiveId" clId="{209500A2-46D0-4A60-8122-7A5CF9743D09}" dt="2023-05-26T08:29:02.791" v="771" actId="1076"/>
        <pc:sldMkLst>
          <pc:docMk/>
          <pc:sldMk cId="2553187395" sldId="2147473539"/>
        </pc:sldMkLst>
        <pc:spChg chg="del">
          <ac:chgData name="Tường SKHĐT" userId="ab9568c39a88b08a" providerId="LiveId" clId="{209500A2-46D0-4A60-8122-7A5CF9743D09}" dt="2023-05-26T08:28:59.984" v="770" actId="21"/>
          <ac:spMkLst>
            <pc:docMk/>
            <pc:sldMk cId="2553187395" sldId="2147473539"/>
            <ac:spMk id="3" creationId="{678AF14F-DB85-BB4F-8AE9-9F2A939634DE}"/>
          </ac:spMkLst>
        </pc:spChg>
        <pc:graphicFrameChg chg="mod">
          <ac:chgData name="Tường SKHĐT" userId="ab9568c39a88b08a" providerId="LiveId" clId="{209500A2-46D0-4A60-8122-7A5CF9743D09}" dt="2023-05-26T08:29:02.791" v="771" actId="1076"/>
          <ac:graphicFrameMkLst>
            <pc:docMk/>
            <pc:sldMk cId="2553187395" sldId="2147473539"/>
            <ac:graphicFrameMk id="6" creationId="{00000000-0000-0000-0000-000000000000}"/>
          </ac:graphicFrameMkLst>
        </pc:graphicFrameChg>
        <pc:cxnChg chg="del">
          <ac:chgData name="Tường SKHĐT" userId="ab9568c39a88b08a" providerId="LiveId" clId="{209500A2-46D0-4A60-8122-7A5CF9743D09}" dt="2023-05-26T08:28:59.984" v="770" actId="21"/>
          <ac:cxnSpMkLst>
            <pc:docMk/>
            <pc:sldMk cId="2553187395" sldId="2147473539"/>
            <ac:cxnSpMk id="5" creationId="{26AD4A3B-AFF7-8EB3-9187-2D3DEF76E7E3}"/>
          </ac:cxnSpMkLst>
        </pc:cxnChg>
      </pc:sldChg>
      <pc:sldChg chg="delSp modSp mod">
        <pc:chgData name="Tường SKHĐT" userId="ab9568c39a88b08a" providerId="LiveId" clId="{209500A2-46D0-4A60-8122-7A5CF9743D09}" dt="2023-05-26T08:29:39.381" v="779" actId="1076"/>
        <pc:sldMkLst>
          <pc:docMk/>
          <pc:sldMk cId="2759319111" sldId="2147473541"/>
        </pc:sldMkLst>
        <pc:spChg chg="del">
          <ac:chgData name="Tường SKHĐT" userId="ab9568c39a88b08a" providerId="LiveId" clId="{209500A2-46D0-4A60-8122-7A5CF9743D09}" dt="2023-05-26T08:29:28.407" v="776" actId="21"/>
          <ac:spMkLst>
            <pc:docMk/>
            <pc:sldMk cId="2759319111" sldId="2147473541"/>
            <ac:spMk id="2" creationId="{1C8F3302-1404-F515-4EF7-DF9A9C367A78}"/>
          </ac:spMkLst>
        </pc:spChg>
        <pc:graphicFrameChg chg="mod">
          <ac:chgData name="Tường SKHĐT" userId="ab9568c39a88b08a" providerId="LiveId" clId="{209500A2-46D0-4A60-8122-7A5CF9743D09}" dt="2023-05-26T08:29:39.381" v="779" actId="1076"/>
          <ac:graphicFrameMkLst>
            <pc:docMk/>
            <pc:sldMk cId="2759319111" sldId="2147473541"/>
            <ac:graphicFrameMk id="6" creationId="{00000000-0000-0000-0000-000000000000}"/>
          </ac:graphicFrameMkLst>
        </pc:graphicFrameChg>
        <pc:cxnChg chg="del">
          <ac:chgData name="Tường SKHĐT" userId="ab9568c39a88b08a" providerId="LiveId" clId="{209500A2-46D0-4A60-8122-7A5CF9743D09}" dt="2023-05-26T08:29:28.407" v="776" actId="21"/>
          <ac:cxnSpMkLst>
            <pc:docMk/>
            <pc:sldMk cId="2759319111" sldId="2147473541"/>
            <ac:cxnSpMk id="4" creationId="{78CA2B95-D9A8-140D-397E-B3D63A6A47C8}"/>
          </ac:cxnSpMkLst>
        </pc:cxnChg>
      </pc:sldChg>
      <pc:sldChg chg="modSp mod">
        <pc:chgData name="Tường SKHĐT" userId="ab9568c39a88b08a" providerId="LiveId" clId="{209500A2-46D0-4A60-8122-7A5CF9743D09}" dt="2023-05-26T08:20:11.097" v="698" actId="20577"/>
        <pc:sldMkLst>
          <pc:docMk/>
          <pc:sldMk cId="1786243308" sldId="2147473545"/>
        </pc:sldMkLst>
        <pc:spChg chg="mod">
          <ac:chgData name="Tường SKHĐT" userId="ab9568c39a88b08a" providerId="LiveId" clId="{209500A2-46D0-4A60-8122-7A5CF9743D09}" dt="2023-05-26T08:20:11.097" v="698" actId="20577"/>
          <ac:spMkLst>
            <pc:docMk/>
            <pc:sldMk cId="1786243308" sldId="2147473545"/>
            <ac:spMk id="4" creationId="{BC31463C-298B-A6B5-ABD8-F7B1C75C6D8F}"/>
          </ac:spMkLst>
        </pc:spChg>
        <pc:spChg chg="mod">
          <ac:chgData name="Tường SKHĐT" userId="ab9568c39a88b08a" providerId="LiveId" clId="{209500A2-46D0-4A60-8122-7A5CF9743D09}" dt="2023-05-26T08:20:06.430" v="693" actId="20577"/>
          <ac:spMkLst>
            <pc:docMk/>
            <pc:sldMk cId="1786243308" sldId="2147473545"/>
            <ac:spMk id="25" creationId="{01DC26C3-E6F4-C27A-8624-3A65D81B6008}"/>
          </ac:spMkLst>
        </pc:spChg>
        <pc:graphicFrameChg chg="mod modGraphic">
          <ac:chgData name="Tường SKHĐT" userId="ab9568c39a88b08a" providerId="LiveId" clId="{209500A2-46D0-4A60-8122-7A5CF9743D09}" dt="2023-05-26T08:10:10.804" v="454" actId="403"/>
          <ac:graphicFrameMkLst>
            <pc:docMk/>
            <pc:sldMk cId="1786243308" sldId="2147473545"/>
            <ac:graphicFrameMk id="8" creationId="{B5E5335D-2EED-82AF-3A59-FAE8BB94EAE1}"/>
          </ac:graphicFrameMkLst>
        </pc:graphicFrameChg>
      </pc:sldChg>
      <pc:sldChg chg="addSp modSp add mod">
        <pc:chgData name="Tường SKHĐT" userId="ab9568c39a88b08a" providerId="LiveId" clId="{209500A2-46D0-4A60-8122-7A5CF9743D09}" dt="2023-05-26T08:41:58.097" v="1017" actId="5793"/>
        <pc:sldMkLst>
          <pc:docMk/>
          <pc:sldMk cId="1783682046" sldId="2147473574"/>
        </pc:sldMkLst>
        <pc:spChg chg="add mod">
          <ac:chgData name="Tường SKHĐT" userId="ab9568c39a88b08a" providerId="LiveId" clId="{209500A2-46D0-4A60-8122-7A5CF9743D09}" dt="2023-05-26T08:40:54.458" v="957"/>
          <ac:spMkLst>
            <pc:docMk/>
            <pc:sldMk cId="1783682046" sldId="2147473574"/>
            <ac:spMk id="2" creationId="{76330D1C-FE94-7514-3404-1D970A73B3B4}"/>
          </ac:spMkLst>
        </pc:spChg>
        <pc:spChg chg="mod">
          <ac:chgData name="Tường SKHĐT" userId="ab9568c39a88b08a" providerId="LiveId" clId="{209500A2-46D0-4A60-8122-7A5CF9743D09}" dt="2023-05-26T08:40:56.956" v="958" actId="1076"/>
          <ac:spMkLst>
            <pc:docMk/>
            <pc:sldMk cId="1783682046" sldId="2147473574"/>
            <ac:spMk id="25" creationId="{01DC26C3-E6F4-C27A-8624-3A65D81B6008}"/>
          </ac:spMkLst>
        </pc:spChg>
        <pc:graphicFrameChg chg="mod modGraphic">
          <ac:chgData name="Tường SKHĐT" userId="ab9568c39a88b08a" providerId="LiveId" clId="{209500A2-46D0-4A60-8122-7A5CF9743D09}" dt="2023-05-26T08:41:58.097" v="1017" actId="5793"/>
          <ac:graphicFrameMkLst>
            <pc:docMk/>
            <pc:sldMk cId="1783682046" sldId="2147473574"/>
            <ac:graphicFrameMk id="8" creationId="{B5E5335D-2EED-82AF-3A59-FAE8BB94EAE1}"/>
          </ac:graphicFrameMkLst>
        </pc:graphicFrameChg>
      </pc:sldChg>
      <pc:sldChg chg="delSp modSp mod">
        <pc:chgData name="Tường SKHĐT" userId="ab9568c39a88b08a" providerId="LiveId" clId="{209500A2-46D0-4A60-8122-7A5CF9743D09}" dt="2023-05-26T08:28:49.103" v="768" actId="1076"/>
        <pc:sldMkLst>
          <pc:docMk/>
          <pc:sldMk cId="2835104792" sldId="2147473580"/>
        </pc:sldMkLst>
        <pc:spChg chg="del">
          <ac:chgData name="Tường SKHĐT" userId="ab9568c39a88b08a" providerId="LiveId" clId="{209500A2-46D0-4A60-8122-7A5CF9743D09}" dt="2023-05-26T08:28:41.492" v="765" actId="21"/>
          <ac:spMkLst>
            <pc:docMk/>
            <pc:sldMk cId="2835104792" sldId="2147473580"/>
            <ac:spMk id="2" creationId="{A03C5AD6-CB3D-370B-B66B-5805906409EE}"/>
          </ac:spMkLst>
        </pc:spChg>
        <pc:spChg chg="mod">
          <ac:chgData name="Tường SKHĐT" userId="ab9568c39a88b08a" providerId="LiveId" clId="{209500A2-46D0-4A60-8122-7A5CF9743D09}" dt="2023-05-26T08:28:44.560" v="767" actId="1076"/>
          <ac:spMkLst>
            <pc:docMk/>
            <pc:sldMk cId="2835104792" sldId="2147473580"/>
            <ac:spMk id="18" creationId="{4FCAD889-B09B-00B4-526B-C91BC90C309F}"/>
          </ac:spMkLst>
        </pc:spChg>
        <pc:grpChg chg="mod">
          <ac:chgData name="Tường SKHĐT" userId="ab9568c39a88b08a" providerId="LiveId" clId="{209500A2-46D0-4A60-8122-7A5CF9743D09}" dt="2023-05-26T08:28:49.103" v="768" actId="1076"/>
          <ac:grpSpMkLst>
            <pc:docMk/>
            <pc:sldMk cId="2835104792" sldId="2147473580"/>
            <ac:grpSpMk id="15" creationId="{DAA907E5-0624-2DAB-4677-B297B7F64B5A}"/>
          </ac:grpSpMkLst>
        </pc:grpChg>
        <pc:grpChg chg="mod">
          <ac:chgData name="Tường SKHĐT" userId="ab9568c39a88b08a" providerId="LiveId" clId="{209500A2-46D0-4A60-8122-7A5CF9743D09}" dt="2023-05-26T08:28:49.103" v="768" actId="1076"/>
          <ac:grpSpMkLst>
            <pc:docMk/>
            <pc:sldMk cId="2835104792" sldId="2147473580"/>
            <ac:grpSpMk id="16" creationId="{2280FA70-4461-06CD-B1F6-9B7852049A95}"/>
          </ac:grpSpMkLst>
        </pc:grpChg>
        <pc:cxnChg chg="del">
          <ac:chgData name="Tường SKHĐT" userId="ab9568c39a88b08a" providerId="LiveId" clId="{209500A2-46D0-4A60-8122-7A5CF9743D09}" dt="2023-05-26T08:28:41.492" v="765" actId="21"/>
          <ac:cxnSpMkLst>
            <pc:docMk/>
            <pc:sldMk cId="2835104792" sldId="2147473580"/>
            <ac:cxnSpMk id="12" creationId="{955ACED0-3984-B592-FF47-C63870456B87}"/>
          </ac:cxnSpMkLst>
        </pc:cxnChg>
      </pc:sldChg>
      <pc:sldChg chg="delSp modSp mod">
        <pc:chgData name="Tường SKHĐT" userId="ab9568c39a88b08a" providerId="LiveId" clId="{209500A2-46D0-4A60-8122-7A5CF9743D09}" dt="2023-05-26T08:37:51.992" v="925" actId="14100"/>
        <pc:sldMkLst>
          <pc:docMk/>
          <pc:sldMk cId="2155607679" sldId="2147473581"/>
        </pc:sldMkLst>
        <pc:spChg chg="mod">
          <ac:chgData name="Tường SKHĐT" userId="ab9568c39a88b08a" providerId="LiveId" clId="{209500A2-46D0-4A60-8122-7A5CF9743D09}" dt="2023-05-26T08:37:51.992" v="925" actId="14100"/>
          <ac:spMkLst>
            <pc:docMk/>
            <pc:sldMk cId="2155607679" sldId="2147473581"/>
            <ac:spMk id="2" creationId="{A49FA47D-1679-133E-0301-5CFB76FC4F8D}"/>
          </ac:spMkLst>
        </pc:spChg>
        <pc:spChg chg="del">
          <ac:chgData name="Tường SKHĐT" userId="ab9568c39a88b08a" providerId="LiveId" clId="{209500A2-46D0-4A60-8122-7A5CF9743D09}" dt="2023-05-26T08:28:54.658" v="769" actId="478"/>
          <ac:spMkLst>
            <pc:docMk/>
            <pc:sldMk cId="2155607679" sldId="2147473581"/>
            <ac:spMk id="3" creationId="{C2A0401F-C36F-3694-D01C-D7962EAE025C}"/>
          </ac:spMkLst>
        </pc:spChg>
        <pc:graphicFrameChg chg="mod">
          <ac:chgData name="Tường SKHĐT" userId="ab9568c39a88b08a" providerId="LiveId" clId="{209500A2-46D0-4A60-8122-7A5CF9743D09}" dt="2023-05-26T08:36:43.372" v="784" actId="1076"/>
          <ac:graphicFrameMkLst>
            <pc:docMk/>
            <pc:sldMk cId="2155607679" sldId="2147473581"/>
            <ac:graphicFrameMk id="6" creationId="{00000000-0000-0000-0000-000000000000}"/>
          </ac:graphicFrameMkLst>
        </pc:graphicFrameChg>
        <pc:picChg chg="mod">
          <ac:chgData name="Tường SKHĐT" userId="ab9568c39a88b08a" providerId="LiveId" clId="{209500A2-46D0-4A60-8122-7A5CF9743D09}" dt="2023-05-26T08:37:47.665" v="923" actId="14100"/>
          <ac:picMkLst>
            <pc:docMk/>
            <pc:sldMk cId="2155607679" sldId="2147473581"/>
            <ac:picMk id="4" creationId="{F2017B93-348B-8282-C73E-71FE6A6AA06D}"/>
          </ac:picMkLst>
        </pc:picChg>
        <pc:picChg chg="mod">
          <ac:chgData name="Tường SKHĐT" userId="ab9568c39a88b08a" providerId="LiveId" clId="{209500A2-46D0-4A60-8122-7A5CF9743D09}" dt="2023-05-26T08:37:49.401" v="924" actId="14100"/>
          <ac:picMkLst>
            <pc:docMk/>
            <pc:sldMk cId="2155607679" sldId="2147473581"/>
            <ac:picMk id="10" creationId="{1741D10D-CE02-80ED-DD91-3CC4EA770F0E}"/>
          </ac:picMkLst>
        </pc:picChg>
        <pc:cxnChg chg="del">
          <ac:chgData name="Tường SKHĐT" userId="ab9568c39a88b08a" providerId="LiveId" clId="{209500A2-46D0-4A60-8122-7A5CF9743D09}" dt="2023-05-26T08:28:54.658" v="769" actId="478"/>
          <ac:cxnSpMkLst>
            <pc:docMk/>
            <pc:sldMk cId="2155607679" sldId="2147473581"/>
            <ac:cxnSpMk id="5" creationId="{AC578C6E-3660-3A69-AA0A-08255636CE96}"/>
          </ac:cxnSpMkLst>
        </pc:cxnChg>
      </pc:sldChg>
      <pc:sldChg chg="delSp mod">
        <pc:chgData name="Tường SKHĐT" userId="ab9568c39a88b08a" providerId="LiveId" clId="{209500A2-46D0-4A60-8122-7A5CF9743D09}" dt="2023-05-26T08:29:09.498" v="772" actId="21"/>
        <pc:sldMkLst>
          <pc:docMk/>
          <pc:sldMk cId="1163171153" sldId="2147473582"/>
        </pc:sldMkLst>
        <pc:spChg chg="del">
          <ac:chgData name="Tường SKHĐT" userId="ab9568c39a88b08a" providerId="LiveId" clId="{209500A2-46D0-4A60-8122-7A5CF9743D09}" dt="2023-05-26T08:29:09.498" v="772" actId="21"/>
          <ac:spMkLst>
            <pc:docMk/>
            <pc:sldMk cId="1163171153" sldId="2147473582"/>
            <ac:spMk id="3" creationId="{C1E44584-CE13-5EA4-19DB-D8DC990CBC62}"/>
          </ac:spMkLst>
        </pc:spChg>
        <pc:cxnChg chg="del">
          <ac:chgData name="Tường SKHĐT" userId="ab9568c39a88b08a" providerId="LiveId" clId="{209500A2-46D0-4A60-8122-7A5CF9743D09}" dt="2023-05-26T08:29:09.498" v="772" actId="21"/>
          <ac:cxnSpMkLst>
            <pc:docMk/>
            <pc:sldMk cId="1163171153" sldId="2147473582"/>
            <ac:cxnSpMk id="10" creationId="{B914ED9F-DFF6-D37B-7629-60468B1F48A2}"/>
          </ac:cxnSpMkLst>
        </pc:cxnChg>
      </pc:sldChg>
      <pc:sldChg chg="delSp modSp mod">
        <pc:chgData name="Tường SKHĐT" userId="ab9568c39a88b08a" providerId="LiveId" clId="{209500A2-46D0-4A60-8122-7A5CF9743D09}" dt="2023-05-26T08:29:24.742" v="775" actId="1076"/>
        <pc:sldMkLst>
          <pc:docMk/>
          <pc:sldMk cId="740355695" sldId="2147473583"/>
        </pc:sldMkLst>
        <pc:spChg chg="del">
          <ac:chgData name="Tường SKHĐT" userId="ab9568c39a88b08a" providerId="LiveId" clId="{209500A2-46D0-4A60-8122-7A5CF9743D09}" dt="2023-05-26T08:29:22.155" v="774" actId="21"/>
          <ac:spMkLst>
            <pc:docMk/>
            <pc:sldMk cId="740355695" sldId="2147473583"/>
            <ac:spMk id="5" creationId="{A38739F1-DA61-0D51-781C-0A971C46BC8E}"/>
          </ac:spMkLst>
        </pc:spChg>
        <pc:graphicFrameChg chg="mod">
          <ac:chgData name="Tường SKHĐT" userId="ab9568c39a88b08a" providerId="LiveId" clId="{209500A2-46D0-4A60-8122-7A5CF9743D09}" dt="2023-05-26T08:29:24.742" v="775" actId="1076"/>
          <ac:graphicFrameMkLst>
            <pc:docMk/>
            <pc:sldMk cId="740355695" sldId="2147473583"/>
            <ac:graphicFrameMk id="6" creationId="{00000000-0000-0000-0000-000000000000}"/>
          </ac:graphicFrameMkLst>
        </pc:graphicFrameChg>
        <pc:cxnChg chg="del">
          <ac:chgData name="Tường SKHĐT" userId="ab9568c39a88b08a" providerId="LiveId" clId="{209500A2-46D0-4A60-8122-7A5CF9743D09}" dt="2023-05-26T08:29:22.155" v="774" actId="21"/>
          <ac:cxnSpMkLst>
            <pc:docMk/>
            <pc:sldMk cId="740355695" sldId="2147473583"/>
            <ac:cxnSpMk id="11" creationId="{BBB3FFB5-717C-CCB2-E429-D8ADD8E540A5}"/>
          </ac:cxnSpMkLst>
        </pc:cxnChg>
      </pc:sldChg>
      <pc:sldChg chg="del">
        <pc:chgData name="Tường SKHĐT" userId="ab9568c39a88b08a" providerId="LiveId" clId="{209500A2-46D0-4A60-8122-7A5CF9743D09}" dt="2023-05-26T08:10:50.509" v="459" actId="2696"/>
        <pc:sldMkLst>
          <pc:docMk/>
          <pc:sldMk cId="3139637778" sldId="2147473595"/>
        </pc:sldMkLst>
      </pc:sldChg>
      <pc:sldChg chg="addSp delSp modSp mod">
        <pc:chgData name="Tường SKHĐT" userId="ab9568c39a88b08a" providerId="LiveId" clId="{209500A2-46D0-4A60-8122-7A5CF9743D09}" dt="2023-05-26T04:18:44.199" v="82" actId="1076"/>
        <pc:sldMkLst>
          <pc:docMk/>
          <pc:sldMk cId="3122668904" sldId="2147473596"/>
        </pc:sldMkLst>
        <pc:spChg chg="add mod">
          <ac:chgData name="Tường SKHĐT" userId="ab9568c39a88b08a" providerId="LiveId" clId="{209500A2-46D0-4A60-8122-7A5CF9743D09}" dt="2023-05-26T04:18:44.199" v="82" actId="1076"/>
          <ac:spMkLst>
            <pc:docMk/>
            <pc:sldMk cId="3122668904" sldId="2147473596"/>
            <ac:spMk id="4" creationId="{B7A8B683-8640-8A89-C54A-E8845438FA6C}"/>
          </ac:spMkLst>
        </pc:spChg>
        <pc:spChg chg="del">
          <ac:chgData name="Tường SKHĐT" userId="ab9568c39a88b08a" providerId="LiveId" clId="{209500A2-46D0-4A60-8122-7A5CF9743D09}" dt="2023-05-26T04:18:20.010" v="2" actId="21"/>
          <ac:spMkLst>
            <pc:docMk/>
            <pc:sldMk cId="3122668904" sldId="2147473596"/>
            <ac:spMk id="12" creationId="{8A67A444-F448-A9A5-7360-DFFFEB3A5F6E}"/>
          </ac:spMkLst>
        </pc:spChg>
        <pc:graphicFrameChg chg="del">
          <ac:chgData name="Tường SKHĐT" userId="ab9568c39a88b08a" providerId="LiveId" clId="{209500A2-46D0-4A60-8122-7A5CF9743D09}" dt="2023-05-26T04:18:16.195" v="1" actId="21"/>
          <ac:graphicFrameMkLst>
            <pc:docMk/>
            <pc:sldMk cId="3122668904" sldId="2147473596"/>
            <ac:graphicFrameMk id="9" creationId="{0738877F-56EF-4DEF-B5AA-1664DC8186CF}"/>
          </ac:graphicFrameMkLst>
        </pc:graphicFrameChg>
      </pc:sldChg>
      <pc:sldChg chg="delSp modSp mod">
        <pc:chgData name="Tường SKHĐT" userId="ab9568c39a88b08a" providerId="LiveId" clId="{209500A2-46D0-4A60-8122-7A5CF9743D09}" dt="2023-05-26T08:20:26.072" v="707" actId="20577"/>
        <pc:sldMkLst>
          <pc:docMk/>
          <pc:sldMk cId="2711314153" sldId="2147473605"/>
        </pc:sldMkLst>
        <pc:spChg chg="del">
          <ac:chgData name="Tường SKHĐT" userId="ab9568c39a88b08a" providerId="LiveId" clId="{209500A2-46D0-4A60-8122-7A5CF9743D09}" dt="2023-05-26T08:07:51.835" v="405" actId="21"/>
          <ac:spMkLst>
            <pc:docMk/>
            <pc:sldMk cId="2711314153" sldId="2147473605"/>
            <ac:spMk id="2" creationId="{61B13660-941B-608F-A108-3C5F23C100E2}"/>
          </ac:spMkLst>
        </pc:spChg>
        <pc:spChg chg="mod">
          <ac:chgData name="Tường SKHĐT" userId="ab9568c39a88b08a" providerId="LiveId" clId="{209500A2-46D0-4A60-8122-7A5CF9743D09}" dt="2023-05-26T08:20:26.072" v="707" actId="20577"/>
          <ac:spMkLst>
            <pc:docMk/>
            <pc:sldMk cId="2711314153" sldId="2147473605"/>
            <ac:spMk id="25" creationId="{01DC26C3-E6F4-C27A-8624-3A65D81B6008}"/>
          </ac:spMkLst>
        </pc:spChg>
        <pc:graphicFrameChg chg="modGraphic">
          <ac:chgData name="Tường SKHĐT" userId="ab9568c39a88b08a" providerId="LiveId" clId="{209500A2-46D0-4A60-8122-7A5CF9743D09}" dt="2023-05-26T08:11:38.841" v="515" actId="20577"/>
          <ac:graphicFrameMkLst>
            <pc:docMk/>
            <pc:sldMk cId="2711314153" sldId="2147473605"/>
            <ac:graphicFrameMk id="8" creationId="{B5E5335D-2EED-82AF-3A59-FAE8BB94EAE1}"/>
          </ac:graphicFrameMkLst>
        </pc:graphicFrameChg>
      </pc:sldChg>
      <pc:sldChg chg="del">
        <pc:chgData name="Tường SKHĐT" userId="ab9568c39a88b08a" providerId="LiveId" clId="{209500A2-46D0-4A60-8122-7A5CF9743D09}" dt="2023-05-26T04:29:26.042" v="111" actId="2696"/>
        <pc:sldMkLst>
          <pc:docMk/>
          <pc:sldMk cId="3004264672" sldId="2147473606"/>
        </pc:sldMkLst>
      </pc:sldChg>
      <pc:sldChg chg="delSp modSp mod">
        <pc:chgData name="Tường SKHĐT" userId="ab9568c39a88b08a" providerId="LiveId" clId="{209500A2-46D0-4A60-8122-7A5CF9743D09}" dt="2023-05-26T08:34:52.612" v="782" actId="20577"/>
        <pc:sldMkLst>
          <pc:docMk/>
          <pc:sldMk cId="2171956986" sldId="2147473620"/>
        </pc:sldMkLst>
        <pc:spChg chg="del">
          <ac:chgData name="Tường SKHĐT" userId="ab9568c39a88b08a" providerId="LiveId" clId="{209500A2-46D0-4A60-8122-7A5CF9743D09}" dt="2023-05-26T08:27:28.728" v="748" actId="21"/>
          <ac:spMkLst>
            <pc:docMk/>
            <pc:sldMk cId="2171956986" sldId="2147473620"/>
            <ac:spMk id="3" creationId="{1F516AD9-C8BB-C766-C890-38C507C25E6D}"/>
          </ac:spMkLst>
        </pc:spChg>
        <pc:spChg chg="mod">
          <ac:chgData name="Tường SKHĐT" userId="ab9568c39a88b08a" providerId="LiveId" clId="{209500A2-46D0-4A60-8122-7A5CF9743D09}" dt="2023-05-26T08:34:52.612" v="782" actId="20577"/>
          <ac:spMkLst>
            <pc:docMk/>
            <pc:sldMk cId="2171956986" sldId="2147473620"/>
            <ac:spMk id="11" creationId="{6220529F-F711-0C6B-EEFD-3905ECF34CAE}"/>
          </ac:spMkLst>
        </pc:spChg>
        <pc:graphicFrameChg chg="mod">
          <ac:chgData name="Tường SKHĐT" userId="ab9568c39a88b08a" providerId="LiveId" clId="{209500A2-46D0-4A60-8122-7A5CF9743D09}" dt="2023-05-26T08:27:31.300" v="749" actId="1076"/>
          <ac:graphicFrameMkLst>
            <pc:docMk/>
            <pc:sldMk cId="2171956986" sldId="2147473620"/>
            <ac:graphicFrameMk id="6" creationId="{00000000-0000-0000-0000-000000000000}"/>
          </ac:graphicFrameMkLst>
        </pc:graphicFrameChg>
        <pc:cxnChg chg="del">
          <ac:chgData name="Tường SKHĐT" userId="ab9568c39a88b08a" providerId="LiveId" clId="{209500A2-46D0-4A60-8122-7A5CF9743D09}" dt="2023-05-26T08:27:28.728" v="748" actId="21"/>
          <ac:cxnSpMkLst>
            <pc:docMk/>
            <pc:sldMk cId="2171956986" sldId="2147473620"/>
            <ac:cxnSpMk id="5" creationId="{FABA730E-F86F-88FC-599C-337CE220F1E6}"/>
          </ac:cxnSpMkLst>
        </pc:cxnChg>
      </pc:sldChg>
      <pc:sldChg chg="del">
        <pc:chgData name="Tường SKHĐT" userId="ab9568c39a88b08a" providerId="LiveId" clId="{209500A2-46D0-4A60-8122-7A5CF9743D09}" dt="2023-05-26T08:27:21.404" v="747" actId="2696"/>
        <pc:sldMkLst>
          <pc:docMk/>
          <pc:sldMk cId="1386009712" sldId="2147473623"/>
        </pc:sldMkLst>
      </pc:sldChg>
      <pc:sldChg chg="delSp modSp mod">
        <pc:chgData name="Tường SKHĐT" userId="ab9568c39a88b08a" providerId="LiveId" clId="{209500A2-46D0-4A60-8122-7A5CF9743D09}" dt="2023-05-26T08:27:37.391" v="751" actId="1076"/>
        <pc:sldMkLst>
          <pc:docMk/>
          <pc:sldMk cId="831685957" sldId="2147473634"/>
        </pc:sldMkLst>
        <pc:spChg chg="del">
          <ac:chgData name="Tường SKHĐT" userId="ab9568c39a88b08a" providerId="LiveId" clId="{209500A2-46D0-4A60-8122-7A5CF9743D09}" dt="2023-05-26T08:27:34.734" v="750" actId="21"/>
          <ac:spMkLst>
            <pc:docMk/>
            <pc:sldMk cId="831685957" sldId="2147473634"/>
            <ac:spMk id="3" creationId="{1F516AD9-C8BB-C766-C890-38C507C25E6D}"/>
          </ac:spMkLst>
        </pc:spChg>
        <pc:graphicFrameChg chg="mod">
          <ac:chgData name="Tường SKHĐT" userId="ab9568c39a88b08a" providerId="LiveId" clId="{209500A2-46D0-4A60-8122-7A5CF9743D09}" dt="2023-05-26T08:27:37.391" v="751" actId="1076"/>
          <ac:graphicFrameMkLst>
            <pc:docMk/>
            <pc:sldMk cId="831685957" sldId="2147473634"/>
            <ac:graphicFrameMk id="6" creationId="{00000000-0000-0000-0000-000000000000}"/>
          </ac:graphicFrameMkLst>
        </pc:graphicFrameChg>
        <pc:cxnChg chg="del">
          <ac:chgData name="Tường SKHĐT" userId="ab9568c39a88b08a" providerId="LiveId" clId="{209500A2-46D0-4A60-8122-7A5CF9743D09}" dt="2023-05-26T08:27:34.734" v="750" actId="21"/>
          <ac:cxnSpMkLst>
            <pc:docMk/>
            <pc:sldMk cId="831685957" sldId="2147473634"/>
            <ac:cxnSpMk id="5" creationId="{FABA730E-F86F-88FC-599C-337CE220F1E6}"/>
          </ac:cxnSpMkLst>
        </pc:cxnChg>
      </pc:sldChg>
      <pc:sldChg chg="del">
        <pc:chgData name="Tường SKHĐT" userId="ab9568c39a88b08a" providerId="LiveId" clId="{209500A2-46D0-4A60-8122-7A5CF9743D09}" dt="2023-05-26T04:18:11.642" v="0" actId="2696"/>
        <pc:sldMkLst>
          <pc:docMk/>
          <pc:sldMk cId="1686249856" sldId="2147473647"/>
        </pc:sldMkLst>
      </pc:sldChg>
      <pc:sldChg chg="del">
        <pc:chgData name="Tường SKHĐT" userId="ab9568c39a88b08a" providerId="LiveId" clId="{209500A2-46D0-4A60-8122-7A5CF9743D09}" dt="2023-05-26T04:18:11.642" v="0" actId="2696"/>
        <pc:sldMkLst>
          <pc:docMk/>
          <pc:sldMk cId="812435647" sldId="2147473649"/>
        </pc:sldMkLst>
      </pc:sldChg>
      <pc:sldChg chg="del">
        <pc:chgData name="Tường SKHĐT" userId="ab9568c39a88b08a" providerId="LiveId" clId="{209500A2-46D0-4A60-8122-7A5CF9743D09}" dt="2023-05-26T04:18:11.642" v="0" actId="2696"/>
        <pc:sldMkLst>
          <pc:docMk/>
          <pc:sldMk cId="882842730" sldId="2147473651"/>
        </pc:sldMkLst>
      </pc:sldChg>
      <pc:sldChg chg="del">
        <pc:chgData name="Tường SKHĐT" userId="ab9568c39a88b08a" providerId="LiveId" clId="{209500A2-46D0-4A60-8122-7A5CF9743D09}" dt="2023-05-26T04:18:11.642" v="0" actId="2696"/>
        <pc:sldMkLst>
          <pc:docMk/>
          <pc:sldMk cId="2086378900" sldId="2147473652"/>
        </pc:sldMkLst>
      </pc:sldChg>
      <pc:sldChg chg="del">
        <pc:chgData name="Tường SKHĐT" userId="ab9568c39a88b08a" providerId="LiveId" clId="{209500A2-46D0-4A60-8122-7A5CF9743D09}" dt="2023-05-26T04:18:11.642" v="0" actId="2696"/>
        <pc:sldMkLst>
          <pc:docMk/>
          <pc:sldMk cId="3727718023" sldId="2147473658"/>
        </pc:sldMkLst>
      </pc:sldChg>
      <pc:sldChg chg="del">
        <pc:chgData name="Tường SKHĐT" userId="ab9568c39a88b08a" providerId="LiveId" clId="{209500A2-46D0-4A60-8122-7A5CF9743D09}" dt="2023-05-26T04:18:11.642" v="0" actId="2696"/>
        <pc:sldMkLst>
          <pc:docMk/>
          <pc:sldMk cId="101557646" sldId="2147473662"/>
        </pc:sldMkLst>
      </pc:sldChg>
      <pc:sldChg chg="addSp delSp modSp mod">
        <pc:chgData name="Tường SKHĐT" userId="ab9568c39a88b08a" providerId="LiveId" clId="{209500A2-46D0-4A60-8122-7A5CF9743D09}" dt="2023-05-26T08:15:58.865" v="607" actId="20577"/>
        <pc:sldMkLst>
          <pc:docMk/>
          <pc:sldMk cId="3788652331" sldId="2147473664"/>
        </pc:sldMkLst>
        <pc:spChg chg="del">
          <ac:chgData name="Tường SKHĐT" userId="ab9568c39a88b08a" providerId="LiveId" clId="{209500A2-46D0-4A60-8122-7A5CF9743D09}" dt="2023-05-26T08:15:38.238" v="584" actId="478"/>
          <ac:spMkLst>
            <pc:docMk/>
            <pc:sldMk cId="3788652331" sldId="2147473664"/>
            <ac:spMk id="2" creationId="{7C81546D-F816-C488-A85A-742F8A6B2CA4}"/>
          </ac:spMkLst>
        </pc:spChg>
        <pc:spChg chg="add mod">
          <ac:chgData name="Tường SKHĐT" userId="ab9568c39a88b08a" providerId="LiveId" clId="{209500A2-46D0-4A60-8122-7A5CF9743D09}" dt="2023-05-26T08:15:58.865" v="607" actId="20577"/>
          <ac:spMkLst>
            <pc:docMk/>
            <pc:sldMk cId="3788652331" sldId="2147473664"/>
            <ac:spMk id="3" creationId="{012B1FB8-DEBD-F0C9-742A-F7D511419944}"/>
          </ac:spMkLst>
        </pc:spChg>
        <pc:spChg chg="del">
          <ac:chgData name="Tường SKHĐT" userId="ab9568c39a88b08a" providerId="LiveId" clId="{209500A2-46D0-4A60-8122-7A5CF9743D09}" dt="2023-05-26T08:15:38.238" v="584" actId="478"/>
          <ac:spMkLst>
            <pc:docMk/>
            <pc:sldMk cId="3788652331" sldId="2147473664"/>
            <ac:spMk id="4" creationId="{97CE96D3-AB3B-391B-8211-8449BFD91087}"/>
          </ac:spMkLst>
        </pc:spChg>
        <pc:graphicFrameChg chg="modGraphic">
          <ac:chgData name="Tường SKHĐT" userId="ab9568c39a88b08a" providerId="LiveId" clId="{209500A2-46D0-4A60-8122-7A5CF9743D09}" dt="2023-05-26T08:15:46.555" v="587" actId="12"/>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209500A2-46D0-4A60-8122-7A5CF9743D09}" dt="2023-05-26T08:16:29.134" v="645" actId="20577"/>
        <pc:sldMkLst>
          <pc:docMk/>
          <pc:sldMk cId="1822202143" sldId="2147473665"/>
        </pc:sldMkLst>
        <pc:spChg chg="add mod">
          <ac:chgData name="Tường SKHĐT" userId="ab9568c39a88b08a" providerId="LiveId" clId="{209500A2-46D0-4A60-8122-7A5CF9743D09}" dt="2023-05-26T08:16:29.134" v="645" actId="20577"/>
          <ac:spMkLst>
            <pc:docMk/>
            <pc:sldMk cId="1822202143" sldId="2147473665"/>
            <ac:spMk id="3" creationId="{7014AAD7-136E-E7E6-DED8-851F926E5F08}"/>
          </ac:spMkLst>
        </pc:spChg>
        <pc:spChg chg="del">
          <ac:chgData name="Tường SKHĐT" userId="ab9568c39a88b08a" providerId="LiveId" clId="{209500A2-46D0-4A60-8122-7A5CF9743D09}" dt="2023-05-26T08:16:04.187" v="608" actId="478"/>
          <ac:spMkLst>
            <pc:docMk/>
            <pc:sldMk cId="1822202143" sldId="2147473665"/>
            <ac:spMk id="4" creationId="{25A5886A-12D5-0579-CB89-3CAC00C7D8EF}"/>
          </ac:spMkLst>
        </pc:spChg>
        <pc:spChg chg="del">
          <ac:chgData name="Tường SKHĐT" userId="ab9568c39a88b08a" providerId="LiveId" clId="{209500A2-46D0-4A60-8122-7A5CF9743D09}" dt="2023-05-26T08:16:04.187" v="608" actId="478"/>
          <ac:spMkLst>
            <pc:docMk/>
            <pc:sldMk cId="1822202143" sldId="2147473665"/>
            <ac:spMk id="6" creationId="{304E3239-2492-E5C2-B476-E4B9E81FD8FE}"/>
          </ac:spMkLst>
        </pc:spChg>
        <pc:graphicFrameChg chg="modGraphic">
          <ac:chgData name="Tường SKHĐT" userId="ab9568c39a88b08a" providerId="LiveId" clId="{209500A2-46D0-4A60-8122-7A5CF9743D09}" dt="2023-05-26T08:16:14.800" v="623" actId="12"/>
          <ac:graphicFrameMkLst>
            <pc:docMk/>
            <pc:sldMk cId="1822202143" sldId="2147473665"/>
            <ac:graphicFrameMk id="8" creationId="{B5E5335D-2EED-82AF-3A59-FAE8BB94EAE1}"/>
          </ac:graphicFrameMkLst>
        </pc:graphicFrameChg>
      </pc:sldChg>
      <pc:sldChg chg="addSp delSp modSp mod">
        <pc:chgData name="Tường SKHĐT" userId="ab9568c39a88b08a" providerId="LiveId" clId="{209500A2-46D0-4A60-8122-7A5CF9743D09}" dt="2023-05-26T08:19:02.528" v="668" actId="20577"/>
        <pc:sldMkLst>
          <pc:docMk/>
          <pc:sldMk cId="635207881" sldId="2147473670"/>
        </pc:sldMkLst>
        <pc:spChg chg="add mod">
          <ac:chgData name="Tường SKHĐT" userId="ab9568c39a88b08a" providerId="LiveId" clId="{209500A2-46D0-4A60-8122-7A5CF9743D09}" dt="2023-05-26T08:18:51.720" v="662"/>
          <ac:spMkLst>
            <pc:docMk/>
            <pc:sldMk cId="635207881" sldId="2147473670"/>
            <ac:spMk id="5" creationId="{28347602-FDB0-46C8-29EB-B0A21F5E71F1}"/>
          </ac:spMkLst>
        </pc:spChg>
        <pc:spChg chg="mod">
          <ac:chgData name="Tường SKHĐT" userId="ab9568c39a88b08a" providerId="LiveId" clId="{209500A2-46D0-4A60-8122-7A5CF9743D09}" dt="2023-05-26T08:19:02.528" v="668" actId="20577"/>
          <ac:spMkLst>
            <pc:docMk/>
            <pc:sldMk cId="635207881" sldId="2147473670"/>
            <ac:spMk id="6" creationId="{81D40E1E-E472-56C2-7A52-1D68B78E001A}"/>
          </ac:spMkLst>
        </pc:spChg>
        <pc:spChg chg="mod">
          <ac:chgData name="Tường SKHĐT" userId="ab9568c39a88b08a" providerId="LiveId" clId="{209500A2-46D0-4A60-8122-7A5CF9743D09}" dt="2023-05-26T08:18:59.383" v="665" actId="1076"/>
          <ac:spMkLst>
            <pc:docMk/>
            <pc:sldMk cId="635207881" sldId="2147473670"/>
            <ac:spMk id="12" creationId="{9770937D-1377-CC7E-CF4C-63302C488F3E}"/>
          </ac:spMkLst>
        </pc:spChg>
        <pc:graphicFrameChg chg="del">
          <ac:chgData name="Tường SKHĐT" userId="ab9568c39a88b08a" providerId="LiveId" clId="{209500A2-46D0-4A60-8122-7A5CF9743D09}" dt="2023-05-26T07:59:16.226" v="199" actId="21"/>
          <ac:graphicFrameMkLst>
            <pc:docMk/>
            <pc:sldMk cId="635207881" sldId="2147473670"/>
            <ac:graphicFrameMk id="3" creationId="{978F53B6-3EB6-9CAB-FD3C-5822181B7354}"/>
          </ac:graphicFrameMkLst>
        </pc:graphicFrameChg>
        <pc:graphicFrameChg chg="mod modGraphic">
          <ac:chgData name="Tường SKHĐT" userId="ab9568c39a88b08a" providerId="LiveId" clId="{209500A2-46D0-4A60-8122-7A5CF9743D09}" dt="2023-05-26T08:00:14.160" v="222" actId="1076"/>
          <ac:graphicFrameMkLst>
            <pc:docMk/>
            <pc:sldMk cId="635207881" sldId="2147473670"/>
            <ac:graphicFrameMk id="8" creationId="{B5E5335D-2EED-82AF-3A59-FAE8BB94EAE1}"/>
          </ac:graphicFrameMkLst>
        </pc:graphicFrameChg>
        <pc:picChg chg="add mod">
          <ac:chgData name="Tường SKHĐT" userId="ab9568c39a88b08a" providerId="LiveId" clId="{209500A2-46D0-4A60-8122-7A5CF9743D09}" dt="2023-05-26T08:00:10.266" v="221" actId="1076"/>
          <ac:picMkLst>
            <pc:docMk/>
            <pc:sldMk cId="635207881" sldId="2147473670"/>
            <ac:picMk id="4" creationId="{6FC098EF-C16A-239A-533E-490FA1A51880}"/>
          </ac:picMkLst>
        </pc:picChg>
        <pc:picChg chg="del">
          <ac:chgData name="Tường SKHĐT" userId="ab9568c39a88b08a" providerId="LiveId" clId="{209500A2-46D0-4A60-8122-7A5CF9743D09}" dt="2023-05-26T07:59:10.662" v="198" actId="21"/>
          <ac:picMkLst>
            <pc:docMk/>
            <pc:sldMk cId="635207881" sldId="2147473670"/>
            <ac:picMk id="7" creationId="{F605BE45-769C-6D8C-2F2A-4C5CC4C71994}"/>
          </ac:picMkLst>
        </pc:picChg>
      </pc:sldChg>
      <pc:sldChg chg="del">
        <pc:chgData name="Tường SKHĐT" userId="ab9568c39a88b08a" providerId="LiveId" clId="{209500A2-46D0-4A60-8122-7A5CF9743D09}" dt="2023-05-26T08:00:40.103" v="223" actId="2696"/>
        <pc:sldMkLst>
          <pc:docMk/>
          <pc:sldMk cId="1914560446" sldId="2147473671"/>
        </pc:sldMkLst>
      </pc:sldChg>
      <pc:sldChg chg="del">
        <pc:chgData name="Tường SKHĐT" userId="ab9568c39a88b08a" providerId="LiveId" clId="{209500A2-46D0-4A60-8122-7A5CF9743D09}" dt="2023-05-26T08:00:40.103" v="223" actId="2696"/>
        <pc:sldMkLst>
          <pc:docMk/>
          <pc:sldMk cId="3350433123" sldId="2147473672"/>
        </pc:sldMkLst>
      </pc:sldChg>
      <pc:sldChg chg="modSp mod">
        <pc:chgData name="Tường SKHĐT" userId="ab9568c39a88b08a" providerId="LiveId" clId="{209500A2-46D0-4A60-8122-7A5CF9743D09}" dt="2023-05-26T08:19:08.753" v="672" actId="20577"/>
        <pc:sldMkLst>
          <pc:docMk/>
          <pc:sldMk cId="293803616" sldId="2147473681"/>
        </pc:sldMkLst>
        <pc:spChg chg="mod">
          <ac:chgData name="Tường SKHĐT" userId="ab9568c39a88b08a" providerId="LiveId" clId="{209500A2-46D0-4A60-8122-7A5CF9743D09}" dt="2023-05-26T08:19:06.547" v="670" actId="20577"/>
          <ac:spMkLst>
            <pc:docMk/>
            <pc:sldMk cId="293803616" sldId="2147473681"/>
            <ac:spMk id="6" creationId="{93EF2A67-E697-52DD-6F39-0BAEA5AC34EE}"/>
          </ac:spMkLst>
        </pc:spChg>
        <pc:spChg chg="mod">
          <ac:chgData name="Tường SKHĐT" userId="ab9568c39a88b08a" providerId="LiveId" clId="{209500A2-46D0-4A60-8122-7A5CF9743D09}" dt="2023-05-26T08:19:08.753" v="672" actId="20577"/>
          <ac:spMkLst>
            <pc:docMk/>
            <pc:sldMk cId="293803616" sldId="2147473681"/>
            <ac:spMk id="10" creationId="{25C96158-722F-D4BE-94A7-161452760777}"/>
          </ac:spMkLst>
        </pc:spChg>
      </pc:sldChg>
      <pc:sldChg chg="delSp modSp mod">
        <pc:chgData name="Tường SKHĐT" userId="ab9568c39a88b08a" providerId="LiveId" clId="{209500A2-46D0-4A60-8122-7A5CF9743D09}" dt="2023-05-26T08:28:01.455" v="756" actId="1076"/>
        <pc:sldMkLst>
          <pc:docMk/>
          <pc:sldMk cId="3956457276" sldId="2147473683"/>
        </pc:sldMkLst>
        <pc:spChg chg="mod">
          <ac:chgData name="Tường SKHĐT" userId="ab9568c39a88b08a" providerId="LiveId" clId="{209500A2-46D0-4A60-8122-7A5CF9743D09}" dt="2023-05-26T08:28:01.455" v="756" actId="1076"/>
          <ac:spMkLst>
            <pc:docMk/>
            <pc:sldMk cId="3956457276" sldId="2147473683"/>
            <ac:spMk id="2" creationId="{A49FA47D-1679-133E-0301-5CFB76FC4F8D}"/>
          </ac:spMkLst>
        </pc:spChg>
        <pc:spChg chg="del">
          <ac:chgData name="Tường SKHĐT" userId="ab9568c39a88b08a" providerId="LiveId" clId="{209500A2-46D0-4A60-8122-7A5CF9743D09}" dt="2023-05-26T08:27:55.749" v="754" actId="21"/>
          <ac:spMkLst>
            <pc:docMk/>
            <pc:sldMk cId="3956457276" sldId="2147473683"/>
            <ac:spMk id="5" creationId="{A5E63777-D9B0-CC7C-4534-85577A499B18}"/>
          </ac:spMkLst>
        </pc:spChg>
        <pc:graphicFrameChg chg="mod">
          <ac:chgData name="Tường SKHĐT" userId="ab9568c39a88b08a" providerId="LiveId" clId="{209500A2-46D0-4A60-8122-7A5CF9743D09}" dt="2023-05-26T08:27:58.715" v="755" actId="1076"/>
          <ac:graphicFrameMkLst>
            <pc:docMk/>
            <pc:sldMk cId="3956457276" sldId="2147473683"/>
            <ac:graphicFrameMk id="6" creationId="{00000000-0000-0000-0000-000000000000}"/>
          </ac:graphicFrameMkLst>
        </pc:graphicFrameChg>
        <pc:cxnChg chg="del">
          <ac:chgData name="Tường SKHĐT" userId="ab9568c39a88b08a" providerId="LiveId" clId="{209500A2-46D0-4A60-8122-7A5CF9743D09}" dt="2023-05-26T08:27:55.749" v="754" actId="21"/>
          <ac:cxnSpMkLst>
            <pc:docMk/>
            <pc:sldMk cId="3956457276" sldId="2147473683"/>
            <ac:cxnSpMk id="10" creationId="{9923AE74-1EB9-B8B8-7F10-C195957B00FF}"/>
          </ac:cxnSpMkLst>
        </pc:cxnChg>
      </pc:sldChg>
      <pc:sldChg chg="del">
        <pc:chgData name="Tường SKHĐT" userId="ab9568c39a88b08a" providerId="LiveId" clId="{209500A2-46D0-4A60-8122-7A5CF9743D09}" dt="2023-05-26T08:01:00.309" v="225" actId="2696"/>
        <pc:sldMkLst>
          <pc:docMk/>
          <pc:sldMk cId="3857576820" sldId="2147473684"/>
        </pc:sldMkLst>
      </pc:sldChg>
      <pc:sldChg chg="addSp delSp modSp mod">
        <pc:chgData name="Tường SKHĐT" userId="ab9568c39a88b08a" providerId="LiveId" clId="{209500A2-46D0-4A60-8122-7A5CF9743D09}" dt="2023-05-26T08:19:15.816" v="676" actId="20577"/>
        <pc:sldMkLst>
          <pc:docMk/>
          <pc:sldMk cId="2676458148" sldId="2147473686"/>
        </pc:sldMkLst>
        <pc:spChg chg="del">
          <ac:chgData name="Tường SKHĐT" userId="ab9568c39a88b08a" providerId="LiveId" clId="{209500A2-46D0-4A60-8122-7A5CF9743D09}" dt="2023-05-26T08:13:17.063" v="516" actId="478"/>
          <ac:spMkLst>
            <pc:docMk/>
            <pc:sldMk cId="2676458148" sldId="2147473686"/>
            <ac:spMk id="3" creationId="{71A1B9FE-DFCB-A29B-0AD9-F9676FA9DC8D}"/>
          </ac:spMkLst>
        </pc:spChg>
        <pc:spChg chg="mod">
          <ac:chgData name="Tường SKHĐT" userId="ab9568c39a88b08a" providerId="LiveId" clId="{209500A2-46D0-4A60-8122-7A5CF9743D09}" dt="2023-05-26T08:19:14.820" v="674" actId="20577"/>
          <ac:spMkLst>
            <pc:docMk/>
            <pc:sldMk cId="2676458148" sldId="2147473686"/>
            <ac:spMk id="6" creationId="{1CB0CB7C-2336-84B1-57C9-3361036915F6}"/>
          </ac:spMkLst>
        </pc:spChg>
        <pc:spChg chg="mod">
          <ac:chgData name="Tường SKHĐT" userId="ab9568c39a88b08a" providerId="LiveId" clId="{209500A2-46D0-4A60-8122-7A5CF9743D09}" dt="2023-05-26T08:19:15.816" v="676" actId="20577"/>
          <ac:spMkLst>
            <pc:docMk/>
            <pc:sldMk cId="2676458148" sldId="2147473686"/>
            <ac:spMk id="7" creationId="{C04F4D96-45AD-953D-5897-218BC956CD36}"/>
          </ac:spMkLst>
        </pc:spChg>
        <pc:graphicFrameChg chg="del">
          <ac:chgData name="Tường SKHĐT" userId="ab9568c39a88b08a" providerId="LiveId" clId="{209500A2-46D0-4A60-8122-7A5CF9743D09}" dt="2023-05-26T08:13:17.063" v="516" actId="478"/>
          <ac:graphicFrameMkLst>
            <pc:docMk/>
            <pc:sldMk cId="2676458148" sldId="2147473686"/>
            <ac:graphicFrameMk id="2" creationId="{7B70EAB1-08A9-24DB-D444-B254D15A656F}"/>
          </ac:graphicFrameMkLst>
        </pc:graphicFrameChg>
        <pc:graphicFrameChg chg="mod modGraphic">
          <ac:chgData name="Tường SKHĐT" userId="ab9568c39a88b08a" providerId="LiveId" clId="{209500A2-46D0-4A60-8122-7A5CF9743D09}" dt="2023-05-26T08:14:56.508" v="583" actId="20577"/>
          <ac:graphicFrameMkLst>
            <pc:docMk/>
            <pc:sldMk cId="2676458148" sldId="2147473686"/>
            <ac:graphicFrameMk id="8" creationId="{B5E5335D-2EED-82AF-3A59-FAE8BB94EAE1}"/>
          </ac:graphicFrameMkLst>
        </pc:graphicFrameChg>
        <pc:picChg chg="del">
          <ac:chgData name="Tường SKHĐT" userId="ab9568c39a88b08a" providerId="LiveId" clId="{209500A2-46D0-4A60-8122-7A5CF9743D09}" dt="2023-05-26T08:13:22.716" v="517" actId="21"/>
          <ac:picMkLst>
            <pc:docMk/>
            <pc:sldMk cId="2676458148" sldId="2147473686"/>
            <ac:picMk id="5" creationId="{1D012F1F-2D3E-DB73-FB3D-9CF264845674}"/>
          </ac:picMkLst>
        </pc:picChg>
        <pc:picChg chg="add mod">
          <ac:chgData name="Tường SKHĐT" userId="ab9568c39a88b08a" providerId="LiveId" clId="{209500A2-46D0-4A60-8122-7A5CF9743D09}" dt="2023-05-26T08:14:23.369" v="526" actId="14100"/>
          <ac:picMkLst>
            <pc:docMk/>
            <pc:sldMk cId="2676458148" sldId="2147473686"/>
            <ac:picMk id="9" creationId="{C87DD715-6CD4-9772-A721-597F4A9A577A}"/>
          </ac:picMkLst>
        </pc:picChg>
      </pc:sldChg>
      <pc:sldChg chg="del">
        <pc:chgData name="Tường SKHĐT" userId="ab9568c39a88b08a" providerId="LiveId" clId="{209500A2-46D0-4A60-8122-7A5CF9743D09}" dt="2023-05-26T08:01:17.529" v="229" actId="2696"/>
        <pc:sldMkLst>
          <pc:docMk/>
          <pc:sldMk cId="9563895" sldId="2147473687"/>
        </pc:sldMkLst>
      </pc:sldChg>
      <pc:sldChg chg="del">
        <pc:chgData name="Tường SKHĐT" userId="ab9568c39a88b08a" providerId="LiveId" clId="{209500A2-46D0-4A60-8122-7A5CF9743D09}" dt="2023-05-26T08:01:17.529" v="229" actId="2696"/>
        <pc:sldMkLst>
          <pc:docMk/>
          <pc:sldMk cId="352671836" sldId="2147473688"/>
        </pc:sldMkLst>
      </pc:sldChg>
      <pc:sldChg chg="del">
        <pc:chgData name="Tường SKHĐT" userId="ab9568c39a88b08a" providerId="LiveId" clId="{209500A2-46D0-4A60-8122-7A5CF9743D09}" dt="2023-05-26T08:01:17.529" v="229" actId="2696"/>
        <pc:sldMkLst>
          <pc:docMk/>
          <pc:sldMk cId="872245245" sldId="2147473689"/>
        </pc:sldMkLst>
      </pc:sldChg>
      <pc:sldChg chg="modSp del mod">
        <pc:chgData name="Tường SKHĐT" userId="ab9568c39a88b08a" providerId="LiveId" clId="{209500A2-46D0-4A60-8122-7A5CF9743D09}" dt="2023-05-26T08:01:52.007" v="234" actId="2696"/>
        <pc:sldMkLst>
          <pc:docMk/>
          <pc:sldMk cId="1100242652" sldId="2147473690"/>
        </pc:sldMkLst>
        <pc:spChg chg="mod">
          <ac:chgData name="Tường SKHĐT" userId="ab9568c39a88b08a" providerId="LiveId" clId="{209500A2-46D0-4A60-8122-7A5CF9743D09}" dt="2023-05-26T08:01:43.982" v="232" actId="14100"/>
          <ac:spMkLst>
            <pc:docMk/>
            <pc:sldMk cId="1100242652" sldId="2147473690"/>
            <ac:spMk id="9" creationId="{64F6FF76-FE74-0506-286A-B4F3B9584380}"/>
          </ac:spMkLst>
        </pc:spChg>
      </pc:sldChg>
      <pc:sldChg chg="addSp delSp modSp mod">
        <pc:chgData name="Tường SKHĐT" userId="ab9568c39a88b08a" providerId="LiveId" clId="{209500A2-46D0-4A60-8122-7A5CF9743D09}" dt="2023-05-26T08:19:25.629" v="680" actId="20577"/>
        <pc:sldMkLst>
          <pc:docMk/>
          <pc:sldMk cId="3869321635" sldId="2147473691"/>
        </pc:sldMkLst>
        <pc:spChg chg="del">
          <ac:chgData name="Tường SKHĐT" userId="ab9568c39a88b08a" providerId="LiveId" clId="{209500A2-46D0-4A60-8122-7A5CF9743D09}" dt="2023-05-26T08:03:36.439" v="266" actId="21"/>
          <ac:spMkLst>
            <pc:docMk/>
            <pc:sldMk cId="3869321635" sldId="2147473691"/>
            <ac:spMk id="2" creationId="{2869EFDB-E75B-1AD0-5D1C-21236FF3D88F}"/>
          </ac:spMkLst>
        </pc:spChg>
        <pc:spChg chg="mod">
          <ac:chgData name="Tường SKHĐT" userId="ab9568c39a88b08a" providerId="LiveId" clId="{209500A2-46D0-4A60-8122-7A5CF9743D09}" dt="2023-05-26T08:03:40.855" v="291" actId="1037"/>
          <ac:spMkLst>
            <pc:docMk/>
            <pc:sldMk cId="3869321635" sldId="2147473691"/>
            <ac:spMk id="6" creationId="{7638DBE2-02E0-C5B8-EE5C-7DE38C251E3C}"/>
          </ac:spMkLst>
        </pc:spChg>
        <pc:spChg chg="mod">
          <ac:chgData name="Tường SKHĐT" userId="ab9568c39a88b08a" providerId="LiveId" clId="{209500A2-46D0-4A60-8122-7A5CF9743D09}" dt="2023-05-26T08:19:25.629" v="680" actId="20577"/>
          <ac:spMkLst>
            <pc:docMk/>
            <pc:sldMk cId="3869321635" sldId="2147473691"/>
            <ac:spMk id="10" creationId="{08D1F23D-4BF7-7D43-F844-5EFB52DBDE43}"/>
          </ac:spMkLst>
        </pc:spChg>
        <pc:graphicFrameChg chg="del">
          <ac:chgData name="Tường SKHĐT" userId="ab9568c39a88b08a" providerId="LiveId" clId="{209500A2-46D0-4A60-8122-7A5CF9743D09}" dt="2023-05-26T08:02:54.518" v="259" actId="21"/>
          <ac:graphicFrameMkLst>
            <pc:docMk/>
            <pc:sldMk cId="3869321635" sldId="2147473691"/>
            <ac:graphicFrameMk id="3" creationId="{DB85112A-BCF5-DB97-64C1-0A654340D908}"/>
          </ac:graphicFrameMkLst>
        </pc:graphicFrameChg>
        <pc:picChg chg="add mod">
          <ac:chgData name="Tường SKHĐT" userId="ab9568c39a88b08a" providerId="LiveId" clId="{209500A2-46D0-4A60-8122-7A5CF9743D09}" dt="2023-05-26T08:03:44.835" v="293" actId="1076"/>
          <ac:picMkLst>
            <pc:docMk/>
            <pc:sldMk cId="3869321635" sldId="2147473691"/>
            <ac:picMk id="5" creationId="{D7D192ED-A090-3C6F-3CA7-2C3CDBC37FF3}"/>
          </ac:picMkLst>
        </pc:picChg>
      </pc:sldChg>
      <pc:sldChg chg="del">
        <pc:chgData name="Tường SKHĐT" userId="ab9568c39a88b08a" providerId="LiveId" clId="{209500A2-46D0-4A60-8122-7A5CF9743D09}" dt="2023-05-26T04:26:47.524" v="87" actId="2696"/>
        <pc:sldMkLst>
          <pc:docMk/>
          <pc:sldMk cId="1831458255" sldId="2147473692"/>
        </pc:sldMkLst>
      </pc:sldChg>
      <pc:sldChg chg="modSp del mod">
        <pc:chgData name="Tường SKHĐT" userId="ab9568c39a88b08a" providerId="LiveId" clId="{209500A2-46D0-4A60-8122-7A5CF9743D09}" dt="2023-05-26T08:42:11.304" v="1019" actId="2696"/>
        <pc:sldMkLst>
          <pc:docMk/>
          <pc:sldMk cId="1214075778" sldId="2147473693"/>
        </pc:sldMkLst>
        <pc:spChg chg="mod">
          <ac:chgData name="Tường SKHĐT" userId="ab9568c39a88b08a" providerId="LiveId" clId="{209500A2-46D0-4A60-8122-7A5CF9743D09}" dt="2023-05-26T08:19:32.035" v="684" actId="20577"/>
          <ac:spMkLst>
            <pc:docMk/>
            <pc:sldMk cId="1214075778" sldId="2147473693"/>
            <ac:spMk id="4" creationId="{42BBD3F5-2717-BBB3-65AD-94A85B7B6BED}"/>
          </ac:spMkLst>
        </pc:spChg>
        <pc:spChg chg="mod">
          <ac:chgData name="Tường SKHĐT" userId="ab9568c39a88b08a" providerId="LiveId" clId="{209500A2-46D0-4A60-8122-7A5CF9743D09}" dt="2023-05-26T08:19:30.618" v="682" actId="20577"/>
          <ac:spMkLst>
            <pc:docMk/>
            <pc:sldMk cId="1214075778" sldId="2147473693"/>
            <ac:spMk id="25" creationId="{01DC26C3-E6F4-C27A-8624-3A65D81B6008}"/>
          </ac:spMkLst>
        </pc:spChg>
      </pc:sldChg>
      <pc:sldChg chg="modSp del mod">
        <pc:chgData name="Tường SKHĐT" userId="ab9568c39a88b08a" providerId="LiveId" clId="{209500A2-46D0-4A60-8122-7A5CF9743D09}" dt="2023-05-26T08:42:06.898" v="1018" actId="2696"/>
        <pc:sldMkLst>
          <pc:docMk/>
          <pc:sldMk cId="683821594" sldId="2147473694"/>
        </pc:sldMkLst>
        <pc:spChg chg="mod">
          <ac:chgData name="Tường SKHĐT" userId="ab9568c39a88b08a" providerId="LiveId" clId="{209500A2-46D0-4A60-8122-7A5CF9743D09}" dt="2023-05-26T08:19:43.843" v="686" actId="20577"/>
          <ac:spMkLst>
            <pc:docMk/>
            <pc:sldMk cId="683821594" sldId="2147473694"/>
            <ac:spMk id="2" creationId="{DA282F85-6A26-95C2-3190-5C75971B95B2}"/>
          </ac:spMkLst>
        </pc:spChg>
        <pc:spChg chg="mod">
          <ac:chgData name="Tường SKHĐT" userId="ab9568c39a88b08a" providerId="LiveId" clId="{209500A2-46D0-4A60-8122-7A5CF9743D09}" dt="2023-05-26T08:19:42.437" v="685" actId="20577"/>
          <ac:spMkLst>
            <pc:docMk/>
            <pc:sldMk cId="683821594" sldId="2147473694"/>
            <ac:spMk id="29" creationId="{B8A067BD-3E2D-578D-5BC7-4960023DDC1E}"/>
          </ac:spMkLst>
        </pc:spChg>
      </pc:sldChg>
      <pc:sldChg chg="modSp del mod">
        <pc:chgData name="Tường SKHĐT" userId="ab9568c39a88b08a" providerId="LiveId" clId="{209500A2-46D0-4A60-8122-7A5CF9743D09}" dt="2023-05-26T08:39:51.166" v="928" actId="2696"/>
        <pc:sldMkLst>
          <pc:docMk/>
          <pc:sldMk cId="2211563581" sldId="2147473695"/>
        </pc:sldMkLst>
        <pc:spChg chg="mod">
          <ac:chgData name="Tường SKHĐT" userId="ab9568c39a88b08a" providerId="LiveId" clId="{209500A2-46D0-4A60-8122-7A5CF9743D09}" dt="2023-05-26T08:19:46.764" v="687" actId="20577"/>
          <ac:spMkLst>
            <pc:docMk/>
            <pc:sldMk cId="2211563581" sldId="2147473695"/>
            <ac:spMk id="10" creationId="{1E8E499E-810A-C1D3-5424-E1F935128A77}"/>
          </ac:spMkLst>
        </pc:spChg>
        <pc:spChg chg="mod">
          <ac:chgData name="Tường SKHĐT" userId="ab9568c39a88b08a" providerId="LiveId" clId="{209500A2-46D0-4A60-8122-7A5CF9743D09}" dt="2023-05-26T08:19:47.766" v="688" actId="20577"/>
          <ac:spMkLst>
            <pc:docMk/>
            <pc:sldMk cId="2211563581" sldId="2147473695"/>
            <ac:spMk id="11" creationId="{C1F29618-6A2A-EFE2-3A1E-A88CCAC7B92C}"/>
          </ac:spMkLst>
        </pc:spChg>
      </pc:sldChg>
      <pc:sldChg chg="del">
        <pc:chgData name="Tường SKHĐT" userId="ab9568c39a88b08a" providerId="LiveId" clId="{209500A2-46D0-4A60-8122-7A5CF9743D09}" dt="2023-05-26T04:27:28.332" v="89" actId="2696"/>
        <pc:sldMkLst>
          <pc:docMk/>
          <pc:sldMk cId="273950832" sldId="2147473696"/>
        </pc:sldMkLst>
      </pc:sldChg>
      <pc:sldChg chg="del">
        <pc:chgData name="Tường SKHĐT" userId="ab9568c39a88b08a" providerId="LiveId" clId="{209500A2-46D0-4A60-8122-7A5CF9743D09}" dt="2023-05-26T08:01:03.379" v="226" actId="2696"/>
        <pc:sldMkLst>
          <pc:docMk/>
          <pc:sldMk cId="4134250126" sldId="2147473697"/>
        </pc:sldMkLst>
      </pc:sldChg>
      <pc:sldChg chg="del">
        <pc:chgData name="Tường SKHĐT" userId="ab9568c39a88b08a" providerId="LiveId" clId="{209500A2-46D0-4A60-8122-7A5CF9743D09}" dt="2023-05-26T08:45:26.580" v="1020" actId="2696"/>
        <pc:sldMkLst>
          <pc:docMk/>
          <pc:sldMk cId="67746271" sldId="2147473699"/>
        </pc:sldMkLst>
      </pc:sldChg>
      <pc:sldChg chg="modSp mod">
        <pc:chgData name="Tường SKHĐT" userId="ab9568c39a88b08a" providerId="LiveId" clId="{209500A2-46D0-4A60-8122-7A5CF9743D09}" dt="2023-05-26T08:26:41.396" v="718" actId="20577"/>
        <pc:sldMkLst>
          <pc:docMk/>
          <pc:sldMk cId="114303837" sldId="2147473702"/>
        </pc:sldMkLst>
        <pc:spChg chg="mod">
          <ac:chgData name="Tường SKHĐT" userId="ab9568c39a88b08a" providerId="LiveId" clId="{209500A2-46D0-4A60-8122-7A5CF9743D09}" dt="2023-05-26T08:26:41.396" v="718" actId="20577"/>
          <ac:spMkLst>
            <pc:docMk/>
            <pc:sldMk cId="114303837" sldId="2147473702"/>
            <ac:spMk id="2" creationId="{EBBA6DF3-6639-B734-F18D-B46A001E2EFE}"/>
          </ac:spMkLst>
        </pc:spChg>
        <pc:spChg chg="mod">
          <ac:chgData name="Tường SKHĐT" userId="ab9568c39a88b08a" providerId="LiveId" clId="{209500A2-46D0-4A60-8122-7A5CF9743D09}" dt="2023-05-26T08:19:56.383" v="690" actId="20577"/>
          <ac:spMkLst>
            <pc:docMk/>
            <pc:sldMk cId="114303837" sldId="2147473702"/>
            <ac:spMk id="3" creationId="{CDDF5701-ACE3-5F2B-B2AC-E34EB0595AFE}"/>
          </ac:spMkLst>
        </pc:spChg>
      </pc:sldChg>
      <pc:sldChg chg="del">
        <pc:chgData name="Tường SKHĐT" userId="ab9568c39a88b08a" providerId="LiveId" clId="{209500A2-46D0-4A60-8122-7A5CF9743D09}" dt="2023-05-26T08:00:57.025" v="224" actId="2696"/>
        <pc:sldMkLst>
          <pc:docMk/>
          <pc:sldMk cId="2166843381" sldId="2147473703"/>
        </pc:sldMkLst>
      </pc:sldChg>
      <pc:sldChg chg="modSp mod">
        <pc:chgData name="Tường SKHĐT" userId="ab9568c39a88b08a" providerId="LiveId" clId="{209500A2-46D0-4A60-8122-7A5CF9743D09}" dt="2023-05-26T07:50:11.658" v="118" actId="1076"/>
        <pc:sldMkLst>
          <pc:docMk/>
          <pc:sldMk cId="1628374629" sldId="2147473704"/>
        </pc:sldMkLst>
        <pc:graphicFrameChg chg="mod">
          <ac:chgData name="Tường SKHĐT" userId="ab9568c39a88b08a" providerId="LiveId" clId="{209500A2-46D0-4A60-8122-7A5CF9743D09}" dt="2023-05-26T07:50:11.658" v="118" actId="1076"/>
          <ac:graphicFrameMkLst>
            <pc:docMk/>
            <pc:sldMk cId="1628374629" sldId="2147473704"/>
            <ac:graphicFrameMk id="2" creationId="{FBFFDBCD-49A2-B604-F9E9-B81E95DF4EB5}"/>
          </ac:graphicFrameMkLst>
        </pc:graphicFrameChg>
      </pc:sldChg>
      <pc:sldChg chg="del">
        <pc:chgData name="Tường SKHĐT" userId="ab9568c39a88b08a" providerId="LiveId" clId="{209500A2-46D0-4A60-8122-7A5CF9743D09}" dt="2023-05-26T08:28:20.892" v="759" actId="2696"/>
        <pc:sldMkLst>
          <pc:docMk/>
          <pc:sldMk cId="707910758" sldId="2147473706"/>
        </pc:sldMkLst>
      </pc:sldChg>
      <pc:sldChg chg="delSp modSp mod">
        <pc:chgData name="Tường SKHĐT" userId="ab9568c39a88b08a" providerId="LiveId" clId="{209500A2-46D0-4A60-8122-7A5CF9743D09}" dt="2023-05-26T08:28:28.634" v="762" actId="14100"/>
        <pc:sldMkLst>
          <pc:docMk/>
          <pc:sldMk cId="1384294736" sldId="2147473707"/>
        </pc:sldMkLst>
        <pc:spChg chg="del">
          <ac:chgData name="Tường SKHĐT" userId="ab9568c39a88b08a" providerId="LiveId" clId="{209500A2-46D0-4A60-8122-7A5CF9743D09}" dt="2023-05-26T08:28:24.432" v="760" actId="21"/>
          <ac:spMkLst>
            <pc:docMk/>
            <pc:sldMk cId="1384294736" sldId="2147473707"/>
            <ac:spMk id="3" creationId="{DDCD32B3-A3FB-948B-6323-63F96EA817F8}"/>
          </ac:spMkLst>
        </pc:spChg>
        <pc:graphicFrameChg chg="mod">
          <ac:chgData name="Tường SKHĐT" userId="ab9568c39a88b08a" providerId="LiveId" clId="{209500A2-46D0-4A60-8122-7A5CF9743D09}" dt="2023-05-26T08:28:28.634" v="762" actId="14100"/>
          <ac:graphicFrameMkLst>
            <pc:docMk/>
            <pc:sldMk cId="1384294736" sldId="2147473707"/>
            <ac:graphicFrameMk id="6" creationId="{00000000-0000-0000-0000-000000000000}"/>
          </ac:graphicFrameMkLst>
        </pc:graphicFrameChg>
        <pc:cxnChg chg="del">
          <ac:chgData name="Tường SKHĐT" userId="ab9568c39a88b08a" providerId="LiveId" clId="{209500A2-46D0-4A60-8122-7A5CF9743D09}" dt="2023-05-26T08:28:24.432" v="760" actId="21"/>
          <ac:cxnSpMkLst>
            <pc:docMk/>
            <pc:sldMk cId="1384294736" sldId="2147473707"/>
            <ac:cxnSpMk id="5" creationId="{A250599A-DC75-597C-6156-E69FFFB3F75E}"/>
          </ac:cxnSpMkLst>
        </pc:cxnChg>
      </pc:sldChg>
      <pc:sldChg chg="delSp modSp mod">
        <pc:chgData name="Tường SKHĐT" userId="ab9568c39a88b08a" providerId="LiveId" clId="{209500A2-46D0-4A60-8122-7A5CF9743D09}" dt="2023-05-26T08:28:09.435" v="758" actId="1076"/>
        <pc:sldMkLst>
          <pc:docMk/>
          <pc:sldMk cId="3055150034" sldId="2147473708"/>
        </pc:sldMkLst>
        <pc:spChg chg="del">
          <ac:chgData name="Tường SKHĐT" userId="ab9568c39a88b08a" providerId="LiveId" clId="{209500A2-46D0-4A60-8122-7A5CF9743D09}" dt="2023-05-26T08:28:06.808" v="757" actId="21"/>
          <ac:spMkLst>
            <pc:docMk/>
            <pc:sldMk cId="3055150034" sldId="2147473708"/>
            <ac:spMk id="5" creationId="{A5E63777-D9B0-CC7C-4534-85577A499B18}"/>
          </ac:spMkLst>
        </pc:spChg>
        <pc:graphicFrameChg chg="mod">
          <ac:chgData name="Tường SKHĐT" userId="ab9568c39a88b08a" providerId="LiveId" clId="{209500A2-46D0-4A60-8122-7A5CF9743D09}" dt="2023-05-26T08:28:09.435" v="758" actId="1076"/>
          <ac:graphicFrameMkLst>
            <pc:docMk/>
            <pc:sldMk cId="3055150034" sldId="2147473708"/>
            <ac:graphicFrameMk id="6" creationId="{00000000-0000-0000-0000-000000000000}"/>
          </ac:graphicFrameMkLst>
        </pc:graphicFrameChg>
        <pc:cxnChg chg="del">
          <ac:chgData name="Tường SKHĐT" userId="ab9568c39a88b08a" providerId="LiveId" clId="{209500A2-46D0-4A60-8122-7A5CF9743D09}" dt="2023-05-26T08:28:06.808" v="757" actId="21"/>
          <ac:cxnSpMkLst>
            <pc:docMk/>
            <pc:sldMk cId="3055150034" sldId="2147473708"/>
            <ac:cxnSpMk id="10" creationId="{9923AE74-1EB9-B8B8-7F10-C195957B00FF}"/>
          </ac:cxnSpMkLst>
        </pc:cxnChg>
      </pc:sldChg>
      <pc:sldChg chg="del">
        <pc:chgData name="Tường SKHĐT" userId="ab9568c39a88b08a" providerId="LiveId" clId="{209500A2-46D0-4A60-8122-7A5CF9743D09}" dt="2023-05-26T08:29:14.605" v="773" actId="2696"/>
        <pc:sldMkLst>
          <pc:docMk/>
          <pc:sldMk cId="734397592" sldId="2147473709"/>
        </pc:sldMkLst>
      </pc:sldChg>
      <pc:sldChg chg="delSp modSp mod">
        <pc:chgData name="Tường SKHĐT" userId="ab9568c39a88b08a" providerId="LiveId" clId="{209500A2-46D0-4A60-8122-7A5CF9743D09}" dt="2023-05-26T08:20:19.543" v="704" actId="20577"/>
        <pc:sldMkLst>
          <pc:docMk/>
          <pc:sldMk cId="603705395" sldId="2147473711"/>
        </pc:sldMkLst>
        <pc:spChg chg="del">
          <ac:chgData name="Tường SKHĐT" userId="ab9568c39a88b08a" providerId="LiveId" clId="{209500A2-46D0-4A60-8122-7A5CF9743D09}" dt="2023-05-26T08:07:59.932" v="407" actId="21"/>
          <ac:spMkLst>
            <pc:docMk/>
            <pc:sldMk cId="603705395" sldId="2147473711"/>
            <ac:spMk id="5" creationId="{13C6177D-64B9-5B4D-AA6B-571EB29BED77}"/>
          </ac:spMkLst>
        </pc:spChg>
        <pc:spChg chg="mod">
          <ac:chgData name="Tường SKHĐT" userId="ab9568c39a88b08a" providerId="LiveId" clId="{209500A2-46D0-4A60-8122-7A5CF9743D09}" dt="2023-05-26T08:20:19.543" v="704" actId="20577"/>
          <ac:spMkLst>
            <pc:docMk/>
            <pc:sldMk cId="603705395" sldId="2147473711"/>
            <ac:spMk id="6" creationId="{AD8FCB44-5401-4810-551D-B0072A6956BA}"/>
          </ac:spMkLst>
        </pc:spChg>
        <pc:graphicFrameChg chg="modGraphic">
          <ac:chgData name="Tường SKHĐT" userId="ab9568c39a88b08a" providerId="LiveId" clId="{209500A2-46D0-4A60-8122-7A5CF9743D09}" dt="2023-05-26T04:30:55.932" v="117" actId="20577"/>
          <ac:graphicFrameMkLst>
            <pc:docMk/>
            <pc:sldMk cId="603705395" sldId="2147473711"/>
            <ac:graphicFrameMk id="10" creationId="{83C0D92A-467E-3F41-0043-586F35EFB2C8}"/>
          </ac:graphicFrameMkLst>
        </pc:graphicFrameChg>
      </pc:sldChg>
      <pc:sldChg chg="del">
        <pc:chgData name="Tường SKHĐT" userId="ab9568c39a88b08a" providerId="LiveId" clId="{209500A2-46D0-4A60-8122-7A5CF9743D09}" dt="2023-05-26T08:01:05.577" v="227" actId="2696"/>
        <pc:sldMkLst>
          <pc:docMk/>
          <pc:sldMk cId="3437564798" sldId="2147473715"/>
        </pc:sldMkLst>
      </pc:sldChg>
      <pc:sldChg chg="del">
        <pc:chgData name="Tường SKHĐT" userId="ab9568c39a88b08a" providerId="LiveId" clId="{209500A2-46D0-4A60-8122-7A5CF9743D09}" dt="2023-05-26T04:27:10.836" v="88" actId="2696"/>
        <pc:sldMkLst>
          <pc:docMk/>
          <pc:sldMk cId="1186956175" sldId="2147473720"/>
        </pc:sldMkLst>
      </pc:sldChg>
      <pc:sldChg chg="delSp modSp mod">
        <pc:chgData name="Tường SKHĐT" userId="ab9568c39a88b08a" providerId="LiveId" clId="{209500A2-46D0-4A60-8122-7A5CF9743D09}" dt="2023-05-26T08:36:14.276" v="783" actId="20577"/>
        <pc:sldMkLst>
          <pc:docMk/>
          <pc:sldMk cId="912302037" sldId="2147473721"/>
        </pc:sldMkLst>
        <pc:spChg chg="mod">
          <ac:chgData name="Tường SKHĐT" userId="ab9568c39a88b08a" providerId="LiveId" clId="{209500A2-46D0-4A60-8122-7A5CF9743D09}" dt="2023-05-26T08:36:14.276" v="783" actId="20577"/>
          <ac:spMkLst>
            <pc:docMk/>
            <pc:sldMk cId="912302037" sldId="2147473721"/>
            <ac:spMk id="2" creationId="{D73C606B-AAEF-247E-530A-5EAC9C46FF0B}"/>
          </ac:spMkLst>
        </pc:spChg>
        <pc:spChg chg="del">
          <ac:chgData name="Tường SKHĐT" userId="ab9568c39a88b08a" providerId="LiveId" clId="{209500A2-46D0-4A60-8122-7A5CF9743D09}" dt="2023-05-26T08:29:32.704" v="777" actId="21"/>
          <ac:spMkLst>
            <pc:docMk/>
            <pc:sldMk cId="912302037" sldId="2147473721"/>
            <ac:spMk id="3" creationId="{1F516AD9-C8BB-C766-C890-38C507C25E6D}"/>
          </ac:spMkLst>
        </pc:spChg>
        <pc:graphicFrameChg chg="mod">
          <ac:chgData name="Tường SKHĐT" userId="ab9568c39a88b08a" providerId="LiveId" clId="{209500A2-46D0-4A60-8122-7A5CF9743D09}" dt="2023-05-26T08:29:36.995" v="778" actId="1076"/>
          <ac:graphicFrameMkLst>
            <pc:docMk/>
            <pc:sldMk cId="912302037" sldId="2147473721"/>
            <ac:graphicFrameMk id="6" creationId="{00000000-0000-0000-0000-000000000000}"/>
          </ac:graphicFrameMkLst>
        </pc:graphicFrameChg>
        <pc:cxnChg chg="del">
          <ac:chgData name="Tường SKHĐT" userId="ab9568c39a88b08a" providerId="LiveId" clId="{209500A2-46D0-4A60-8122-7A5CF9743D09}" dt="2023-05-26T08:29:32.704" v="777" actId="21"/>
          <ac:cxnSpMkLst>
            <pc:docMk/>
            <pc:sldMk cId="912302037" sldId="2147473721"/>
            <ac:cxnSpMk id="5" creationId="{FABA730E-F86F-88FC-599C-337CE220F1E6}"/>
          </ac:cxnSpMkLst>
        </pc:cxnChg>
      </pc:sldChg>
      <pc:sldChg chg="del">
        <pc:chgData name="Tường SKHĐT" userId="ab9568c39a88b08a" providerId="LiveId" clId="{209500A2-46D0-4A60-8122-7A5CF9743D09}" dt="2023-05-26T08:01:14.529" v="228" actId="2696"/>
        <pc:sldMkLst>
          <pc:docMk/>
          <pc:sldMk cId="2943774504" sldId="2147473722"/>
        </pc:sldMkLst>
      </pc:sldChg>
      <pc:sldChg chg="del">
        <pc:chgData name="Tường SKHĐT" userId="ab9568c39a88b08a" providerId="LiveId" clId="{209500A2-46D0-4A60-8122-7A5CF9743D09}" dt="2023-05-26T04:18:11.642" v="0" actId="2696"/>
        <pc:sldMkLst>
          <pc:docMk/>
          <pc:sldMk cId="3781609734" sldId="2147473730"/>
        </pc:sldMkLst>
      </pc:sldChg>
      <pc:sldChg chg="addSp delSp modSp add mod">
        <pc:chgData name="Tường SKHĐT" userId="ab9568c39a88b08a" providerId="LiveId" clId="{209500A2-46D0-4A60-8122-7A5CF9743D09}" dt="2023-05-26T08:19:23.186" v="678" actId="20577"/>
        <pc:sldMkLst>
          <pc:docMk/>
          <pc:sldMk cId="2964888231" sldId="2147473732"/>
        </pc:sldMkLst>
        <pc:spChg chg="add mod">
          <ac:chgData name="Tường SKHĐT" userId="ab9568c39a88b08a" providerId="LiveId" clId="{209500A2-46D0-4A60-8122-7A5CF9743D09}" dt="2023-05-26T08:19:23.186" v="678" actId="20577"/>
          <ac:spMkLst>
            <pc:docMk/>
            <pc:sldMk cId="2964888231" sldId="2147473732"/>
            <ac:spMk id="3" creationId="{903B4ABF-B441-1F98-8475-ADC2F5108218}"/>
          </ac:spMkLst>
        </pc:spChg>
        <pc:spChg chg="del">
          <ac:chgData name="Tường SKHĐT" userId="ab9568c39a88b08a" providerId="LiveId" clId="{209500A2-46D0-4A60-8122-7A5CF9743D09}" dt="2023-05-26T08:01:30.751" v="230" actId="21"/>
          <ac:spMkLst>
            <pc:docMk/>
            <pc:sldMk cId="2964888231" sldId="2147473732"/>
            <ac:spMk id="5" creationId="{5B050C0E-6F0A-3A34-5DE6-722AD68E3AD2}"/>
          </ac:spMkLst>
        </pc:spChg>
        <pc:spChg chg="add mod">
          <ac:chgData name="Tường SKHĐT" userId="ab9568c39a88b08a" providerId="LiveId" clId="{209500A2-46D0-4A60-8122-7A5CF9743D09}" dt="2023-05-26T08:01:47.011" v="233"/>
          <ac:spMkLst>
            <pc:docMk/>
            <pc:sldMk cId="2964888231" sldId="2147473732"/>
            <ac:spMk id="7" creationId="{7D50AE92-1081-C242-AA0F-3479AC5AE1B9}"/>
          </ac:spMkLst>
        </pc:spChg>
        <pc:spChg chg="mod">
          <ac:chgData name="Tường SKHĐT" userId="ab9568c39a88b08a" providerId="LiveId" clId="{209500A2-46D0-4A60-8122-7A5CF9743D09}" dt="2023-05-26T08:02:38.029" v="258" actId="20577"/>
          <ac:spMkLst>
            <pc:docMk/>
            <pc:sldMk cId="2964888231" sldId="2147473732"/>
            <ac:spMk id="17" creationId="{819C62AF-660F-4A4C-8D60-DED895CA4F86}"/>
          </ac:spMkLst>
        </pc:spChg>
        <pc:spChg chg="mod">
          <ac:chgData name="Tường SKHĐT" userId="ab9568c39a88b08a" providerId="LiveId" clId="{209500A2-46D0-4A60-8122-7A5CF9743D09}" dt="2023-05-26T08:02:33.381" v="254" actId="20577"/>
          <ac:spMkLst>
            <pc:docMk/>
            <pc:sldMk cId="2964888231" sldId="2147473732"/>
            <ac:spMk id="38" creationId="{E99E09BE-73DB-3EA0-743A-B6780F7EC077}"/>
          </ac:spMkLst>
        </pc:spChg>
        <pc:spChg chg="mod">
          <ac:chgData name="Tường SKHĐT" userId="ab9568c39a88b08a" providerId="LiveId" clId="{209500A2-46D0-4A60-8122-7A5CF9743D09}" dt="2023-05-26T08:02:18.819" v="242" actId="20577"/>
          <ac:spMkLst>
            <pc:docMk/>
            <pc:sldMk cId="2964888231" sldId="2147473732"/>
            <ac:spMk id="39" creationId="{7264A84C-57F7-F74D-C532-6F7E2AD94E1E}"/>
          </ac:spMkLst>
        </pc:spChg>
        <pc:spChg chg="mod">
          <ac:chgData name="Tường SKHĐT" userId="ab9568c39a88b08a" providerId="LiveId" clId="{209500A2-46D0-4A60-8122-7A5CF9743D09}" dt="2023-05-26T08:02:24.348" v="248" actId="20577"/>
          <ac:spMkLst>
            <pc:docMk/>
            <pc:sldMk cId="2964888231" sldId="2147473732"/>
            <ac:spMk id="43" creationId="{30203544-5CA4-077B-B78C-B19B96F8FC77}"/>
          </ac:spMkLst>
        </pc:spChg>
      </pc:sldChg>
      <pc:sldChg chg="addSp delSp modSp add mod">
        <pc:chgData name="Tường SKHĐT" userId="ab9568c39a88b08a" providerId="LiveId" clId="{209500A2-46D0-4A60-8122-7A5CF9743D09}" dt="2023-05-26T08:19:53.859" v="689" actId="20577"/>
        <pc:sldMkLst>
          <pc:docMk/>
          <pc:sldMk cId="2569991023" sldId="2147473733"/>
        </pc:sldMkLst>
        <pc:spChg chg="del">
          <ac:chgData name="Tường SKHĐT" userId="ab9568c39a88b08a" providerId="LiveId" clId="{209500A2-46D0-4A60-8122-7A5CF9743D09}" dt="2023-05-26T04:28:23.036" v="91" actId="478"/>
          <ac:spMkLst>
            <pc:docMk/>
            <pc:sldMk cId="2569991023" sldId="2147473733"/>
            <ac:spMk id="4" creationId="{16D24723-A233-03FF-2329-1817AB93339D}"/>
          </ac:spMkLst>
        </pc:spChg>
        <pc:spChg chg="add mod">
          <ac:chgData name="Tường SKHĐT" userId="ab9568c39a88b08a" providerId="LiveId" clId="{209500A2-46D0-4A60-8122-7A5CF9743D09}" dt="2023-05-26T08:18:18.904" v="661" actId="20577"/>
          <ac:spMkLst>
            <pc:docMk/>
            <pc:sldMk cId="2569991023" sldId="2147473733"/>
            <ac:spMk id="5" creationId="{5B918BFC-9B4D-E46D-BFC5-3ED16C1643F8}"/>
          </ac:spMkLst>
        </pc:spChg>
        <pc:spChg chg="add mod">
          <ac:chgData name="Tường SKHĐT" userId="ab9568c39a88b08a" providerId="LiveId" clId="{209500A2-46D0-4A60-8122-7A5CF9743D09}" dt="2023-05-26T08:19:53.859" v="689" actId="20577"/>
          <ac:spMkLst>
            <pc:docMk/>
            <pc:sldMk cId="2569991023" sldId="2147473733"/>
            <ac:spMk id="7" creationId="{6CE3C172-6B73-81D2-B734-810C1C811D2E}"/>
          </ac:spMkLst>
        </pc:spChg>
        <pc:spChg chg="del">
          <ac:chgData name="Tường SKHĐT" userId="ab9568c39a88b08a" providerId="LiveId" clId="{209500A2-46D0-4A60-8122-7A5CF9743D09}" dt="2023-05-26T04:28:23.036" v="91" actId="478"/>
          <ac:spMkLst>
            <pc:docMk/>
            <pc:sldMk cId="2569991023" sldId="2147473733"/>
            <ac:spMk id="25" creationId="{01DC26C3-E6F4-C27A-8624-3A65D81B6008}"/>
          </ac:spMkLst>
        </pc:spChg>
        <pc:graphicFrameChg chg="mod modGraphic">
          <ac:chgData name="Tường SKHĐT" userId="ab9568c39a88b08a" providerId="LiveId" clId="{209500A2-46D0-4A60-8122-7A5CF9743D09}" dt="2023-05-26T04:29:16.952" v="109" actId="20577"/>
          <ac:graphicFrameMkLst>
            <pc:docMk/>
            <pc:sldMk cId="2569991023" sldId="2147473733"/>
            <ac:graphicFrameMk id="8" creationId="{B5E5335D-2EED-82AF-3A59-FAE8BB94EAE1}"/>
          </ac:graphicFrameMkLst>
        </pc:graphicFrameChg>
        <pc:picChg chg="del">
          <ac:chgData name="Tường SKHĐT" userId="ab9568c39a88b08a" providerId="LiveId" clId="{209500A2-46D0-4A60-8122-7A5CF9743D09}" dt="2023-05-26T04:28:59.317" v="101" actId="21"/>
          <ac:picMkLst>
            <pc:docMk/>
            <pc:sldMk cId="2569991023" sldId="2147473733"/>
            <ac:picMk id="3" creationId="{65E2C9CA-C74B-BF6D-7601-969BE1A28E59}"/>
          </ac:picMkLst>
        </pc:picChg>
        <pc:picChg chg="add mod">
          <ac:chgData name="Tường SKHĐT" userId="ab9568c39a88b08a" providerId="LiveId" clId="{209500A2-46D0-4A60-8122-7A5CF9743D09}" dt="2023-05-26T04:29:02.656" v="102"/>
          <ac:picMkLst>
            <pc:docMk/>
            <pc:sldMk cId="2569991023" sldId="2147473733"/>
            <ac:picMk id="9" creationId="{CDC37B83-E538-7BDA-9A1E-E09DCFF78A2D}"/>
          </ac:picMkLst>
        </pc:picChg>
        <pc:cxnChg chg="del">
          <ac:chgData name="Tường SKHĐT" userId="ab9568c39a88b08a" providerId="LiveId" clId="{209500A2-46D0-4A60-8122-7A5CF9743D09}" dt="2023-05-26T04:28:23.036" v="91" actId="478"/>
          <ac:cxnSpMkLst>
            <pc:docMk/>
            <pc:sldMk cId="2569991023" sldId="2147473733"/>
            <ac:cxnSpMk id="6" creationId="{FF705920-E1B4-B4D0-9EA4-A27AA5761577}"/>
          </ac:cxnSpMkLst>
        </pc:cxnChg>
      </pc:sldChg>
      <pc:sldChg chg="delSp modSp add mod">
        <pc:chgData name="Tường SKHĐT" userId="ab9568c39a88b08a" providerId="LiveId" clId="{209500A2-46D0-4A60-8122-7A5CF9743D09}" dt="2023-05-26T08:20:32.707" v="709" actId="20577"/>
        <pc:sldMkLst>
          <pc:docMk/>
          <pc:sldMk cId="1379701318" sldId="2147473734"/>
        </pc:sldMkLst>
        <pc:spChg chg="del">
          <ac:chgData name="Tường SKHĐT" userId="ab9568c39a88b08a" providerId="LiveId" clId="{209500A2-46D0-4A60-8122-7A5CF9743D09}" dt="2023-05-26T08:07:44.616" v="403" actId="21"/>
          <ac:spMkLst>
            <pc:docMk/>
            <pc:sldMk cId="1379701318" sldId="2147473734"/>
            <ac:spMk id="4" creationId="{16D24723-A233-03FF-2329-1817AB93339D}"/>
          </ac:spMkLst>
        </pc:spChg>
        <pc:spChg chg="mod">
          <ac:chgData name="Tường SKHĐT" userId="ab9568c39a88b08a" providerId="LiveId" clId="{209500A2-46D0-4A60-8122-7A5CF9743D09}" dt="2023-05-26T08:20:32.707" v="709" actId="20577"/>
          <ac:spMkLst>
            <pc:docMk/>
            <pc:sldMk cId="1379701318" sldId="2147473734"/>
            <ac:spMk id="25" creationId="{01DC26C3-E6F4-C27A-8624-3A65D81B6008}"/>
          </ac:spMkLst>
        </pc:spChg>
        <pc:graphicFrameChg chg="mod">
          <ac:chgData name="Tường SKHĐT" userId="ab9568c39a88b08a" providerId="LiveId" clId="{209500A2-46D0-4A60-8122-7A5CF9743D09}" dt="2023-05-26T08:08:25.825" v="413" actId="1076"/>
          <ac:graphicFrameMkLst>
            <pc:docMk/>
            <pc:sldMk cId="1379701318" sldId="2147473734"/>
            <ac:graphicFrameMk id="9" creationId="{0FC7DBA8-03B5-1D5D-B7A1-68AA6F62DF7E}"/>
          </ac:graphicFrameMkLst>
        </pc:graphicFrameChg>
        <pc:cxnChg chg="del">
          <ac:chgData name="Tường SKHĐT" userId="ab9568c39a88b08a" providerId="LiveId" clId="{209500A2-46D0-4A60-8122-7A5CF9743D09}" dt="2023-05-26T08:07:44.616" v="403" actId="21"/>
          <ac:cxnSpMkLst>
            <pc:docMk/>
            <pc:sldMk cId="1379701318" sldId="2147473734"/>
            <ac:cxnSpMk id="6" creationId="{FF705920-E1B4-B4D0-9EA4-A27AA5761577}"/>
          </ac:cxnSpMkLst>
        </pc:cxnChg>
      </pc:sldChg>
      <pc:sldChg chg="addSp delSp modSp add mod">
        <pc:chgData name="Tường SKHĐT" userId="ab9568c39a88b08a" providerId="LiveId" clId="{209500A2-46D0-4A60-8122-7A5CF9743D09}" dt="2023-05-26T07:54:47.163" v="127" actId="1076"/>
        <pc:sldMkLst>
          <pc:docMk/>
          <pc:sldMk cId="3474861270" sldId="2147473735"/>
        </pc:sldMkLst>
        <pc:spChg chg="del">
          <ac:chgData name="Tường SKHĐT" userId="ab9568c39a88b08a" providerId="LiveId" clId="{209500A2-46D0-4A60-8122-7A5CF9743D09}" dt="2023-05-26T07:54:31.212" v="121" actId="478"/>
          <ac:spMkLst>
            <pc:docMk/>
            <pc:sldMk cId="3474861270" sldId="2147473735"/>
            <ac:spMk id="4" creationId="{1FA84E38-1AE4-2FD2-269D-531A1D51424D}"/>
          </ac:spMkLst>
        </pc:spChg>
        <pc:spChg chg="del">
          <ac:chgData name="Tường SKHĐT" userId="ab9568c39a88b08a" providerId="LiveId" clId="{209500A2-46D0-4A60-8122-7A5CF9743D09}" dt="2023-05-26T07:54:31.212" v="121" actId="478"/>
          <ac:spMkLst>
            <pc:docMk/>
            <pc:sldMk cId="3474861270" sldId="2147473735"/>
            <ac:spMk id="6" creationId="{AD8FCB44-5401-4810-551D-B0072A6956BA}"/>
          </ac:spMkLst>
        </pc:spChg>
        <pc:spChg chg="del">
          <ac:chgData name="Tường SKHĐT" userId="ab9568c39a88b08a" providerId="LiveId" clId="{209500A2-46D0-4A60-8122-7A5CF9743D09}" dt="2023-05-26T07:54:31.212" v="121" actId="478"/>
          <ac:spMkLst>
            <pc:docMk/>
            <pc:sldMk cId="3474861270" sldId="2147473735"/>
            <ac:spMk id="8" creationId="{E4620DA0-DCF6-700E-9776-6805AE4114E9}"/>
          </ac:spMkLst>
        </pc:spChg>
        <pc:spChg chg="mod">
          <ac:chgData name="Tường SKHĐT" userId="ab9568c39a88b08a" providerId="LiveId" clId="{209500A2-46D0-4A60-8122-7A5CF9743D09}" dt="2023-05-26T07:54:34.848" v="122" actId="1076"/>
          <ac:spMkLst>
            <pc:docMk/>
            <pc:sldMk cId="3474861270" sldId="2147473735"/>
            <ac:spMk id="9" creationId="{CE322719-97A4-00CC-C0B6-CACE800FAA68}"/>
          </ac:spMkLst>
        </pc:spChg>
        <pc:graphicFrameChg chg="del">
          <ac:chgData name="Tường SKHĐT" userId="ab9568c39a88b08a" providerId="LiveId" clId="{209500A2-46D0-4A60-8122-7A5CF9743D09}" dt="2023-05-26T07:54:28.158" v="120" actId="21"/>
          <ac:graphicFrameMkLst>
            <pc:docMk/>
            <pc:sldMk cId="3474861270" sldId="2147473735"/>
            <ac:graphicFrameMk id="3" creationId="{19F8C869-87A6-0F98-C7BC-7F547BC514A6}"/>
          </ac:graphicFrameMkLst>
        </pc:graphicFrameChg>
        <pc:picChg chg="add mod">
          <ac:chgData name="Tường SKHĐT" userId="ab9568c39a88b08a" providerId="LiveId" clId="{209500A2-46D0-4A60-8122-7A5CF9743D09}" dt="2023-05-26T07:54:47.163" v="127" actId="1076"/>
          <ac:picMkLst>
            <pc:docMk/>
            <pc:sldMk cId="3474861270" sldId="2147473735"/>
            <ac:picMk id="5" creationId="{956FAA40-D79B-C819-F976-4FAE47924C8C}"/>
          </ac:picMkLst>
        </pc:picChg>
      </pc:sldChg>
      <pc:sldChg chg="addSp delSp modSp add mod">
        <pc:chgData name="Tường SKHĐT" userId="ab9568c39a88b08a" providerId="LiveId" clId="{209500A2-46D0-4A60-8122-7A5CF9743D09}" dt="2023-05-26T07:57:09.580" v="137" actId="1076"/>
        <pc:sldMkLst>
          <pc:docMk/>
          <pc:sldMk cId="1775073472" sldId="2147473736"/>
        </pc:sldMkLst>
        <pc:spChg chg="mod">
          <ac:chgData name="Tường SKHĐT" userId="ab9568c39a88b08a" providerId="LiveId" clId="{209500A2-46D0-4A60-8122-7A5CF9743D09}" dt="2023-05-26T07:57:09.580" v="137" actId="1076"/>
          <ac:spMkLst>
            <pc:docMk/>
            <pc:sldMk cId="1775073472" sldId="2147473736"/>
            <ac:spMk id="9" creationId="{18AC359A-8ADF-9DAA-4CA1-F82A916F1E2E}"/>
          </ac:spMkLst>
        </pc:spChg>
        <pc:spChg chg="del">
          <ac:chgData name="Tường SKHĐT" userId="ab9568c39a88b08a" providerId="LiveId" clId="{209500A2-46D0-4A60-8122-7A5CF9743D09}" dt="2023-05-26T07:56:47.285" v="129" actId="478"/>
          <ac:spMkLst>
            <pc:docMk/>
            <pc:sldMk cId="1775073472" sldId="2147473736"/>
            <ac:spMk id="33" creationId="{0959055D-1A0E-234C-9864-D6D0F9E441B4}"/>
          </ac:spMkLst>
        </pc:spChg>
        <pc:spChg chg="del">
          <ac:chgData name="Tường SKHĐT" userId="ab9568c39a88b08a" providerId="LiveId" clId="{209500A2-46D0-4A60-8122-7A5CF9743D09}" dt="2023-05-26T07:56:49.330" v="130" actId="478"/>
          <ac:spMkLst>
            <pc:docMk/>
            <pc:sldMk cId="1775073472" sldId="2147473736"/>
            <ac:spMk id="51" creationId="{E639D5A5-0B2B-2B25-C42F-CD3F6B8CE468}"/>
          </ac:spMkLst>
        </pc:spChg>
        <pc:grpChg chg="del">
          <ac:chgData name="Tường SKHĐT" userId="ab9568c39a88b08a" providerId="LiveId" clId="{209500A2-46D0-4A60-8122-7A5CF9743D09}" dt="2023-05-26T07:56:49.330" v="130" actId="478"/>
          <ac:grpSpMkLst>
            <pc:docMk/>
            <pc:sldMk cId="1775073472" sldId="2147473736"/>
            <ac:grpSpMk id="34" creationId="{E9FF81F2-B8F1-6141-480B-3136065353D9}"/>
          </ac:grpSpMkLst>
        </pc:grpChg>
        <pc:grpChg chg="del">
          <ac:chgData name="Tường SKHĐT" userId="ab9568c39a88b08a" providerId="LiveId" clId="{209500A2-46D0-4A60-8122-7A5CF9743D09}" dt="2023-05-26T07:56:49.330" v="130" actId="478"/>
          <ac:grpSpMkLst>
            <pc:docMk/>
            <pc:sldMk cId="1775073472" sldId="2147473736"/>
            <ac:grpSpMk id="38" creationId="{11D29D9B-8730-3997-C9A4-11315D5FC881}"/>
          </ac:grpSpMkLst>
        </pc:grpChg>
        <pc:grpChg chg="del">
          <ac:chgData name="Tường SKHĐT" userId="ab9568c39a88b08a" providerId="LiveId" clId="{209500A2-46D0-4A60-8122-7A5CF9743D09}" dt="2023-05-26T07:56:49.330" v="130" actId="478"/>
          <ac:grpSpMkLst>
            <pc:docMk/>
            <pc:sldMk cId="1775073472" sldId="2147473736"/>
            <ac:grpSpMk id="41" creationId="{F8F0BB93-27B2-163B-81FF-6B6608C40518}"/>
          </ac:grpSpMkLst>
        </pc:grpChg>
        <pc:grpChg chg="del">
          <ac:chgData name="Tường SKHĐT" userId="ab9568c39a88b08a" providerId="LiveId" clId="{209500A2-46D0-4A60-8122-7A5CF9743D09}" dt="2023-05-26T07:56:49.330" v="130" actId="478"/>
          <ac:grpSpMkLst>
            <pc:docMk/>
            <pc:sldMk cId="1775073472" sldId="2147473736"/>
            <ac:grpSpMk id="46" creationId="{937E3CB8-3528-4025-9B27-90C52F1E8DB0}"/>
          </ac:grpSpMkLst>
        </pc:grpChg>
        <pc:graphicFrameChg chg="del">
          <ac:chgData name="Tường SKHĐT" userId="ab9568c39a88b08a" providerId="LiveId" clId="{209500A2-46D0-4A60-8122-7A5CF9743D09}" dt="2023-05-26T07:56:47.285" v="129" actId="478"/>
          <ac:graphicFrameMkLst>
            <pc:docMk/>
            <pc:sldMk cId="1775073472" sldId="2147473736"/>
            <ac:graphicFrameMk id="8" creationId="{B5E5335D-2EED-82AF-3A59-FAE8BB94EAE1}"/>
          </ac:graphicFrameMkLst>
        </pc:graphicFrameChg>
        <pc:picChg chg="add mod">
          <ac:chgData name="Tường SKHĐT" userId="ab9568c39a88b08a" providerId="LiveId" clId="{209500A2-46D0-4A60-8122-7A5CF9743D09}" dt="2023-05-26T07:57:07.704" v="136" actId="1076"/>
          <ac:picMkLst>
            <pc:docMk/>
            <pc:sldMk cId="1775073472" sldId="2147473736"/>
            <ac:picMk id="3" creationId="{5AC2D7C3-E090-4C77-D4E6-88325902E8B7}"/>
          </ac:picMkLst>
        </pc:picChg>
        <pc:picChg chg="del">
          <ac:chgData name="Tường SKHĐT" userId="ab9568c39a88b08a" providerId="LiveId" clId="{209500A2-46D0-4A60-8122-7A5CF9743D09}" dt="2023-05-26T07:56:49.330" v="130" actId="478"/>
          <ac:picMkLst>
            <pc:docMk/>
            <pc:sldMk cId="1775073472" sldId="2147473736"/>
            <ac:picMk id="30" creationId="{08AE9AC3-FD57-47BC-AF03-5B008563EF4B}"/>
          </ac:picMkLst>
        </pc:picChg>
        <pc:picChg chg="del">
          <ac:chgData name="Tường SKHĐT" userId="ab9568c39a88b08a" providerId="LiveId" clId="{209500A2-46D0-4A60-8122-7A5CF9743D09}" dt="2023-05-26T07:56:49.330" v="130" actId="478"/>
          <ac:picMkLst>
            <pc:docMk/>
            <pc:sldMk cId="1775073472" sldId="2147473736"/>
            <ac:picMk id="31" creationId="{71CE52F5-FFC8-14D4-FBA2-3FC98A85CCC2}"/>
          </ac:picMkLst>
        </pc:picChg>
        <pc:picChg chg="del">
          <ac:chgData name="Tường SKHĐT" userId="ab9568c39a88b08a" providerId="LiveId" clId="{209500A2-46D0-4A60-8122-7A5CF9743D09}" dt="2023-05-26T07:56:47.285" v="129" actId="478"/>
          <ac:picMkLst>
            <pc:docMk/>
            <pc:sldMk cId="1775073472" sldId="2147473736"/>
            <ac:picMk id="32" creationId="{D60AE9D0-2656-F431-EBC5-CFC3173546E1}"/>
          </ac:picMkLst>
        </pc:picChg>
        <pc:picChg chg="del">
          <ac:chgData name="Tường SKHĐT" userId="ab9568c39a88b08a" providerId="LiveId" clId="{209500A2-46D0-4A60-8122-7A5CF9743D09}" dt="2023-05-26T07:56:49.330" v="130" actId="478"/>
          <ac:picMkLst>
            <pc:docMk/>
            <pc:sldMk cId="1775073472" sldId="2147473736"/>
            <ac:picMk id="45" creationId="{877003C6-7270-3A27-2661-B33D0BFBFE18}"/>
          </ac:picMkLst>
        </pc:picChg>
        <pc:picChg chg="del">
          <ac:chgData name="Tường SKHĐT" userId="ab9568c39a88b08a" providerId="LiveId" clId="{209500A2-46D0-4A60-8122-7A5CF9743D09}" dt="2023-05-26T07:56:49.330" v="130" actId="478"/>
          <ac:picMkLst>
            <pc:docMk/>
            <pc:sldMk cId="1775073472" sldId="2147473736"/>
            <ac:picMk id="50" creationId="{CC057292-7944-31CA-AED4-B1127A7792E6}"/>
          </ac:picMkLst>
        </pc:picChg>
      </pc:sldChg>
      <pc:sldChg chg="addSp delSp modSp add mod">
        <pc:chgData name="Tường SKHĐT" userId="ab9568c39a88b08a" providerId="LiveId" clId="{209500A2-46D0-4A60-8122-7A5CF9743D09}" dt="2023-05-26T08:17:07.066" v="656" actId="14100"/>
        <pc:sldMkLst>
          <pc:docMk/>
          <pc:sldMk cId="3744426745" sldId="2147473737"/>
        </pc:sldMkLst>
        <pc:spChg chg="del">
          <ac:chgData name="Tường SKHĐT" userId="ab9568c39a88b08a" providerId="LiveId" clId="{209500A2-46D0-4A60-8122-7A5CF9743D09}" dt="2023-05-26T08:16:50.174" v="647" actId="478"/>
          <ac:spMkLst>
            <pc:docMk/>
            <pc:sldMk cId="3744426745" sldId="2147473737"/>
            <ac:spMk id="4" creationId="{25A5886A-12D5-0579-CB89-3CAC00C7D8EF}"/>
          </ac:spMkLst>
        </pc:spChg>
        <pc:spChg chg="del">
          <ac:chgData name="Tường SKHĐT" userId="ab9568c39a88b08a" providerId="LiveId" clId="{209500A2-46D0-4A60-8122-7A5CF9743D09}" dt="2023-05-26T08:16:50.174" v="647" actId="478"/>
          <ac:spMkLst>
            <pc:docMk/>
            <pc:sldMk cId="3744426745" sldId="2147473737"/>
            <ac:spMk id="6" creationId="{304E3239-2492-E5C2-B476-E4B9E81FD8FE}"/>
          </ac:spMkLst>
        </pc:spChg>
        <pc:spChg chg="add mod">
          <ac:chgData name="Tường SKHĐT" userId="ab9568c39a88b08a" providerId="LiveId" clId="{209500A2-46D0-4A60-8122-7A5CF9743D09}" dt="2023-05-26T08:17:02.641" v="652" actId="1076"/>
          <ac:spMkLst>
            <pc:docMk/>
            <pc:sldMk cId="3744426745" sldId="2147473737"/>
            <ac:spMk id="9" creationId="{58F24AD0-F007-A590-583C-27B1A4CE0310}"/>
          </ac:spMkLst>
        </pc:spChg>
        <pc:graphicFrameChg chg="del mod modGraphic">
          <ac:chgData name="Tường SKHĐT" userId="ab9568c39a88b08a" providerId="LiveId" clId="{209500A2-46D0-4A60-8122-7A5CF9743D09}" dt="2023-05-26T08:16:55.037" v="649" actId="21"/>
          <ac:graphicFrameMkLst>
            <pc:docMk/>
            <pc:sldMk cId="3744426745" sldId="2147473737"/>
            <ac:graphicFrameMk id="8" creationId="{B5E5335D-2EED-82AF-3A59-FAE8BB94EAE1}"/>
          </ac:graphicFrameMkLst>
        </pc:graphicFrameChg>
        <pc:picChg chg="del">
          <ac:chgData name="Tường SKHĐT" userId="ab9568c39a88b08a" providerId="LiveId" clId="{209500A2-46D0-4A60-8122-7A5CF9743D09}" dt="2023-05-26T07:58:06.418" v="140" actId="21"/>
          <ac:picMkLst>
            <pc:docMk/>
            <pc:sldMk cId="3744426745" sldId="2147473737"/>
            <ac:picMk id="2" creationId="{D332573F-550E-B385-BE21-241ECFBBB573}"/>
          </ac:picMkLst>
        </pc:picChg>
        <pc:picChg chg="del">
          <ac:chgData name="Tường SKHĐT" userId="ab9568c39a88b08a" providerId="LiveId" clId="{209500A2-46D0-4A60-8122-7A5CF9743D09}" dt="2023-05-26T07:58:08.165" v="141" actId="21"/>
          <ac:picMkLst>
            <pc:docMk/>
            <pc:sldMk cId="3744426745" sldId="2147473737"/>
            <ac:picMk id="5" creationId="{3CDF5BD5-9FC9-82BF-1AB2-3E88F876FDF7}"/>
          </ac:picMkLst>
        </pc:picChg>
        <pc:picChg chg="add mod">
          <ac:chgData name="Tường SKHĐT" userId="ab9568c39a88b08a" providerId="LiveId" clId="{209500A2-46D0-4A60-8122-7A5CF9743D09}" dt="2023-05-26T08:17:07.066" v="656" actId="14100"/>
          <ac:picMkLst>
            <pc:docMk/>
            <pc:sldMk cId="3744426745" sldId="2147473737"/>
            <ac:picMk id="7" creationId="{88723A39-7226-0710-ECED-2DFB60814456}"/>
          </ac:picMkLst>
        </pc:picChg>
      </pc:sldChg>
      <pc:sldChg chg="addSp delSp modSp add mod">
        <pc:chgData name="Tường SKHĐT" userId="ab9568c39a88b08a" providerId="LiveId" clId="{209500A2-46D0-4A60-8122-7A5CF9743D09}" dt="2023-05-26T08:20:16.430" v="703" actId="20577"/>
        <pc:sldMkLst>
          <pc:docMk/>
          <pc:sldMk cId="3839081106" sldId="2147473738"/>
        </pc:sldMkLst>
        <pc:spChg chg="del">
          <ac:chgData name="Tường SKHĐT" userId="ab9568c39a88b08a" providerId="LiveId" clId="{209500A2-46D0-4A60-8122-7A5CF9743D09}" dt="2023-05-26T08:10:37.606" v="456" actId="21"/>
          <ac:spMkLst>
            <pc:docMk/>
            <pc:sldMk cId="3839081106" sldId="2147473738"/>
            <ac:spMk id="2" creationId="{F9FD27AF-4E01-77E9-3CC9-56F324CD8F16}"/>
          </ac:spMkLst>
        </pc:spChg>
        <pc:spChg chg="del">
          <ac:chgData name="Tường SKHĐT" userId="ab9568c39a88b08a" providerId="LiveId" clId="{209500A2-46D0-4A60-8122-7A5CF9743D09}" dt="2023-05-26T08:10:43.706" v="457" actId="21"/>
          <ac:spMkLst>
            <pc:docMk/>
            <pc:sldMk cId="3839081106" sldId="2147473738"/>
            <ac:spMk id="4" creationId="{84E678B1-5987-B741-9399-D29A2D84E308}"/>
          </ac:spMkLst>
        </pc:spChg>
        <pc:spChg chg="add mod">
          <ac:chgData name="Tường SKHĐT" userId="ab9568c39a88b08a" providerId="LiveId" clId="{209500A2-46D0-4A60-8122-7A5CF9743D09}" dt="2023-05-26T08:10:47.556" v="458"/>
          <ac:spMkLst>
            <pc:docMk/>
            <pc:sldMk cId="3839081106" sldId="2147473738"/>
            <ac:spMk id="5" creationId="{D719EECE-B4EB-2250-6716-BE9AEEDC7A27}"/>
          </ac:spMkLst>
        </pc:spChg>
        <pc:spChg chg="add mod">
          <ac:chgData name="Tường SKHĐT" userId="ab9568c39a88b08a" providerId="LiveId" clId="{209500A2-46D0-4A60-8122-7A5CF9743D09}" dt="2023-05-26T08:20:16.430" v="703" actId="20577"/>
          <ac:spMkLst>
            <pc:docMk/>
            <pc:sldMk cId="3839081106" sldId="2147473738"/>
            <ac:spMk id="8" creationId="{6325300B-72B5-EA7E-3841-C049947F901A}"/>
          </ac:spMkLst>
        </pc:spChg>
        <pc:cxnChg chg="del">
          <ac:chgData name="Tường SKHĐT" userId="ab9568c39a88b08a" providerId="LiveId" clId="{209500A2-46D0-4A60-8122-7A5CF9743D09}" dt="2023-05-26T08:10:37.606" v="456" actId="21"/>
          <ac:cxnSpMkLst>
            <pc:docMk/>
            <pc:sldMk cId="3839081106" sldId="2147473738"/>
            <ac:cxnSpMk id="3" creationId="{ADD22AB5-997A-438C-90CE-9E3E978696C3}"/>
          </ac:cxnSpMkLst>
        </pc:cxnChg>
      </pc:sldChg>
      <pc:sldChg chg="modSp add mod">
        <pc:chgData name="Tường SKHĐT" userId="ab9568c39a88b08a" providerId="LiveId" clId="{209500A2-46D0-4A60-8122-7A5CF9743D09}" dt="2023-05-26T08:40:01.448" v="956" actId="20577"/>
        <pc:sldMkLst>
          <pc:docMk/>
          <pc:sldMk cId="2648267713" sldId="2147473739"/>
        </pc:sldMkLst>
        <pc:spChg chg="mod">
          <ac:chgData name="Tường SKHĐT" userId="ab9568c39a88b08a" providerId="LiveId" clId="{209500A2-46D0-4A60-8122-7A5CF9743D09}" dt="2023-05-26T08:40:01.448" v="956" actId="20577"/>
          <ac:spMkLst>
            <pc:docMk/>
            <pc:sldMk cId="2648267713" sldId="2147473739"/>
            <ac:spMk id="27" creationId="{01DC26C3-E6F4-C27A-8624-3A65D81B6008}"/>
          </ac:spMkLst>
        </pc:spChg>
      </pc:sldChg>
      <pc:sldMasterChg chg="delSldLayout">
        <pc:chgData name="Tường SKHĐT" userId="ab9568c39a88b08a" providerId="LiveId" clId="{209500A2-46D0-4A60-8122-7A5CF9743D09}" dt="2023-05-26T08:42:06.898" v="1018" actId="2696"/>
        <pc:sldMasterMkLst>
          <pc:docMk/>
          <pc:sldMasterMk cId="2184812212" sldId="2147483912"/>
        </pc:sldMasterMkLst>
        <pc:sldLayoutChg chg="del">
          <pc:chgData name="Tường SKHĐT" userId="ab9568c39a88b08a" providerId="LiveId" clId="{209500A2-46D0-4A60-8122-7A5CF9743D09}" dt="2023-05-26T08:42:06.898" v="1018" actId="2696"/>
          <pc:sldLayoutMkLst>
            <pc:docMk/>
            <pc:sldMasterMk cId="2184812212" sldId="2147483912"/>
            <pc:sldLayoutMk cId="3531722404" sldId="2147483936"/>
          </pc:sldLayoutMkLst>
        </pc:sldLayoutChg>
      </pc:sldMasterChg>
    </pc:docChg>
  </pc:docChgLst>
  <pc:docChgLst>
    <pc:chgData name="Tường SKHĐT" userId="ab9568c39a88b08a" providerId="LiveId" clId="{7F40EFB6-A070-4129-923F-BA5C112CB3ED}"/>
    <pc:docChg chg="undo custSel addSld delSld modSld">
      <pc:chgData name="Tường SKHĐT" userId="ab9568c39a88b08a" providerId="LiveId" clId="{7F40EFB6-A070-4129-923F-BA5C112CB3ED}" dt="2023-05-26T04:16:57.276" v="609" actId="2696"/>
      <pc:docMkLst>
        <pc:docMk/>
      </pc:docMkLst>
      <pc:sldChg chg="modSp mod">
        <pc:chgData name="Tường SKHĐT" userId="ab9568c39a88b08a" providerId="LiveId" clId="{7F40EFB6-A070-4129-923F-BA5C112CB3ED}" dt="2023-05-26T03:53:28.226" v="121" actId="1076"/>
        <pc:sldMkLst>
          <pc:docMk/>
          <pc:sldMk cId="1596329165" sldId="455"/>
        </pc:sldMkLst>
        <pc:spChg chg="mod">
          <ac:chgData name="Tường SKHĐT" userId="ab9568c39a88b08a" providerId="LiveId" clId="{7F40EFB6-A070-4129-923F-BA5C112CB3ED}" dt="2023-05-26T03:53:28.226" v="121" actId="1076"/>
          <ac:spMkLst>
            <pc:docMk/>
            <pc:sldMk cId="1596329165" sldId="455"/>
            <ac:spMk id="7" creationId="{E508593D-8C0D-4163-9A4A-7D6922F8A0DF}"/>
          </ac:spMkLst>
        </pc:spChg>
        <pc:grpChg chg="mod">
          <ac:chgData name="Tường SKHĐT" userId="ab9568c39a88b08a" providerId="LiveId" clId="{7F40EFB6-A070-4129-923F-BA5C112CB3ED}" dt="2023-05-26T03:53:22.305" v="120" actId="1076"/>
          <ac:grpSpMkLst>
            <pc:docMk/>
            <pc:sldMk cId="1596329165" sldId="455"/>
            <ac:grpSpMk id="17" creationId="{6BEB7F04-DEC3-47AD-A430-C67E8368B8AA}"/>
          </ac:grpSpMkLst>
        </pc:grpChg>
      </pc:sldChg>
      <pc:sldChg chg="modSp mod">
        <pc:chgData name="Tường SKHĐT" userId="ab9568c39a88b08a" providerId="LiveId" clId="{7F40EFB6-A070-4129-923F-BA5C112CB3ED}" dt="2023-05-26T04:04:06.343" v="438" actId="14100"/>
        <pc:sldMkLst>
          <pc:docMk/>
          <pc:sldMk cId="1473453022" sldId="2147473487"/>
        </pc:sldMkLst>
        <pc:spChg chg="mod">
          <ac:chgData name="Tường SKHĐT" userId="ab9568c39a88b08a" providerId="LiveId" clId="{7F40EFB6-A070-4129-923F-BA5C112CB3ED}" dt="2023-05-26T03:57:22.807" v="366" actId="20577"/>
          <ac:spMkLst>
            <pc:docMk/>
            <pc:sldMk cId="1473453022" sldId="2147473487"/>
            <ac:spMk id="2" creationId="{38636ED8-2C26-1735-2586-A047393B3E4D}"/>
          </ac:spMkLst>
        </pc:spChg>
        <pc:spChg chg="mod">
          <ac:chgData name="Tường SKHĐT" userId="ab9568c39a88b08a" providerId="LiveId" clId="{7F40EFB6-A070-4129-923F-BA5C112CB3ED}" dt="2023-05-26T04:04:04.126" v="437" actId="14100"/>
          <ac:spMkLst>
            <pc:docMk/>
            <pc:sldMk cId="1473453022" sldId="2147473487"/>
            <ac:spMk id="3" creationId="{851AC2AB-B1A6-2F7F-B7BC-A388B1AC7685}"/>
          </ac:spMkLst>
        </pc:spChg>
        <pc:cxnChg chg="mod">
          <ac:chgData name="Tường SKHĐT" userId="ab9568c39a88b08a" providerId="LiveId" clId="{7F40EFB6-A070-4129-923F-BA5C112CB3ED}" dt="2023-05-26T04:04:06.343" v="438" actId="14100"/>
          <ac:cxnSpMkLst>
            <pc:docMk/>
            <pc:sldMk cId="1473453022" sldId="2147473487"/>
            <ac:cxnSpMk id="4" creationId="{2F226481-463B-59C5-367E-8402F49ADEDB}"/>
          </ac:cxnSpMkLst>
        </pc:cxnChg>
      </pc:sldChg>
      <pc:sldChg chg="modSp mod">
        <pc:chgData name="Tường SKHĐT" userId="ab9568c39a88b08a" providerId="LiveId" clId="{7F40EFB6-A070-4129-923F-BA5C112CB3ED}" dt="2023-05-26T04:00:30.118" v="374" actId="20577"/>
        <pc:sldMkLst>
          <pc:docMk/>
          <pc:sldMk cId="98016993" sldId="2147473493"/>
        </pc:sldMkLst>
        <pc:spChg chg="mod">
          <ac:chgData name="Tường SKHĐT" userId="ab9568c39a88b08a" providerId="LiveId" clId="{7F40EFB6-A070-4129-923F-BA5C112CB3ED}" dt="2023-05-26T04:00:30.118" v="374" actId="20577"/>
          <ac:spMkLst>
            <pc:docMk/>
            <pc:sldMk cId="98016993" sldId="2147473493"/>
            <ac:spMk id="2" creationId="{249DB492-0ACE-EC4B-78A2-7FFF6DFB60DB}"/>
          </ac:spMkLst>
        </pc:spChg>
      </pc:sldChg>
      <pc:sldChg chg="modSp mod">
        <pc:chgData name="Tường SKHĐT" userId="ab9568c39a88b08a" providerId="LiveId" clId="{7F40EFB6-A070-4129-923F-BA5C112CB3ED}" dt="2023-05-26T03:53:45.912" v="150" actId="14100"/>
        <pc:sldMkLst>
          <pc:docMk/>
          <pc:sldMk cId="1079553522" sldId="2147473530"/>
        </pc:sldMkLst>
        <pc:spChg chg="mod">
          <ac:chgData name="Tường SKHĐT" userId="ab9568c39a88b08a" providerId="LiveId" clId="{7F40EFB6-A070-4129-923F-BA5C112CB3ED}" dt="2023-05-26T03:53:45.912" v="150" actId="14100"/>
          <ac:spMkLst>
            <pc:docMk/>
            <pc:sldMk cId="1079553522" sldId="2147473530"/>
            <ac:spMk id="4" creationId="{A8ED73C0-6DEB-F036-A81D-A84B4FA62951}"/>
          </ac:spMkLst>
        </pc:spChg>
      </pc:sldChg>
      <pc:sldChg chg="del">
        <pc:chgData name="Tường SKHĐT" userId="ab9568c39a88b08a" providerId="LiveId" clId="{7F40EFB6-A070-4129-923F-BA5C112CB3ED}" dt="2023-05-26T04:09:31.838" v="594" actId="2696"/>
        <pc:sldMkLst>
          <pc:docMk/>
          <pc:sldMk cId="385818067" sldId="2147473563"/>
        </pc:sldMkLst>
      </pc:sldChg>
      <pc:sldChg chg="addSp delSp modSp mod modShow">
        <pc:chgData name="Tường SKHĐT" userId="ab9568c39a88b08a" providerId="LiveId" clId="{7F40EFB6-A070-4129-923F-BA5C112CB3ED}" dt="2023-05-26T04:04:42.819" v="446" actId="1076"/>
        <pc:sldMkLst>
          <pc:docMk/>
          <pc:sldMk cId="3122668904" sldId="2147473596"/>
        </pc:sldMkLst>
        <pc:spChg chg="add mod">
          <ac:chgData name="Tường SKHĐT" userId="ab9568c39a88b08a" providerId="LiveId" clId="{7F40EFB6-A070-4129-923F-BA5C112CB3ED}" dt="2023-05-26T04:04:42.819" v="446" actId="1076"/>
          <ac:spMkLst>
            <pc:docMk/>
            <pc:sldMk cId="3122668904" sldId="2147473596"/>
            <ac:spMk id="2" creationId="{59BE836C-F798-2D93-2688-D0E99B4F7176}"/>
          </ac:spMkLst>
        </pc:spChg>
        <pc:spChg chg="del">
          <ac:chgData name="Tường SKHĐT" userId="ab9568c39a88b08a" providerId="LiveId" clId="{7F40EFB6-A070-4129-923F-BA5C112CB3ED}" dt="2023-05-26T04:04:29.526" v="445" actId="478"/>
          <ac:spMkLst>
            <pc:docMk/>
            <pc:sldMk cId="3122668904" sldId="2147473596"/>
            <ac:spMk id="10" creationId="{662EDBD3-19DF-486F-ABA4-D066DFD5C061}"/>
          </ac:spMkLst>
        </pc:spChg>
        <pc:spChg chg="mod">
          <ac:chgData name="Tường SKHĐT" userId="ab9568c39a88b08a" providerId="LiveId" clId="{7F40EFB6-A070-4129-923F-BA5C112CB3ED}" dt="2023-05-26T04:04:13.725" v="442" actId="20577"/>
          <ac:spMkLst>
            <pc:docMk/>
            <pc:sldMk cId="3122668904" sldId="2147473596"/>
            <ac:spMk id="13" creationId="{D941B402-27FD-60A3-D08E-FE667B173AB3}"/>
          </ac:spMkLst>
        </pc:spChg>
        <pc:cxnChg chg="add mod">
          <ac:chgData name="Tường SKHĐT" userId="ab9568c39a88b08a" providerId="LiveId" clId="{7F40EFB6-A070-4129-923F-BA5C112CB3ED}" dt="2023-05-26T04:04:42.819" v="446" actId="1076"/>
          <ac:cxnSpMkLst>
            <pc:docMk/>
            <pc:sldMk cId="3122668904" sldId="2147473596"/>
            <ac:cxnSpMk id="3" creationId="{41FDD8EA-DA02-C8BF-8078-04CFBFB60275}"/>
          </ac:cxnSpMkLst>
        </pc:cxnChg>
        <pc:cxnChg chg="del">
          <ac:chgData name="Tường SKHĐT" userId="ab9568c39a88b08a" providerId="LiveId" clId="{7F40EFB6-A070-4129-923F-BA5C112CB3ED}" dt="2023-05-26T04:04:29.526" v="445" actId="478"/>
          <ac:cxnSpMkLst>
            <pc:docMk/>
            <pc:sldMk cId="3122668904" sldId="2147473596"/>
            <ac:cxnSpMk id="11" creationId="{22C2389C-9AA4-0E6D-7FA9-32B95E73E5B1}"/>
          </ac:cxnSpMkLst>
        </pc:cxnChg>
      </pc:sldChg>
      <pc:sldChg chg="del">
        <pc:chgData name="Tường SKHĐT" userId="ab9568c39a88b08a" providerId="LiveId" clId="{7F40EFB6-A070-4129-923F-BA5C112CB3ED}" dt="2023-05-26T04:16:40.809" v="608" actId="2696"/>
        <pc:sldMkLst>
          <pc:docMk/>
          <pc:sldMk cId="1174761856" sldId="2147473632"/>
        </pc:sldMkLst>
      </pc:sldChg>
      <pc:sldChg chg="del">
        <pc:chgData name="Tường SKHĐT" userId="ab9568c39a88b08a" providerId="LiveId" clId="{7F40EFB6-A070-4129-923F-BA5C112CB3ED}" dt="2023-05-26T04:11:06.339" v="599" actId="2696"/>
        <pc:sldMkLst>
          <pc:docMk/>
          <pc:sldMk cId="2981393660" sldId="2147473641"/>
        </pc:sldMkLst>
      </pc:sldChg>
      <pc:sldChg chg="del">
        <pc:chgData name="Tường SKHĐT" userId="ab9568c39a88b08a" providerId="LiveId" clId="{7F40EFB6-A070-4129-923F-BA5C112CB3ED}" dt="2023-05-26T04:11:06.339" v="599" actId="2696"/>
        <pc:sldMkLst>
          <pc:docMk/>
          <pc:sldMk cId="4131389082" sldId="2147473642"/>
        </pc:sldMkLst>
      </pc:sldChg>
      <pc:sldChg chg="del">
        <pc:chgData name="Tường SKHĐT" userId="ab9568c39a88b08a" providerId="LiveId" clId="{7F40EFB6-A070-4129-923F-BA5C112CB3ED}" dt="2023-05-26T04:11:06.339" v="599" actId="2696"/>
        <pc:sldMkLst>
          <pc:docMk/>
          <pc:sldMk cId="473370666" sldId="2147473644"/>
        </pc:sldMkLst>
      </pc:sldChg>
      <pc:sldChg chg="modSp del mod">
        <pc:chgData name="Tường SKHĐT" userId="ab9568c39a88b08a" providerId="LiveId" clId="{7F40EFB6-A070-4129-923F-BA5C112CB3ED}" dt="2023-05-26T04:11:15.095" v="600" actId="2696"/>
        <pc:sldMkLst>
          <pc:docMk/>
          <pc:sldMk cId="3895469789" sldId="2147473645"/>
        </pc:sldMkLst>
        <pc:spChg chg="mod">
          <ac:chgData name="Tường SKHĐT" userId="ab9568c39a88b08a" providerId="LiveId" clId="{7F40EFB6-A070-4129-923F-BA5C112CB3ED}" dt="2023-05-26T04:03:40.426" v="405" actId="20577"/>
          <ac:spMkLst>
            <pc:docMk/>
            <pc:sldMk cId="3895469789" sldId="2147473645"/>
            <ac:spMk id="3" creationId="{E2060C7B-D80B-2D4B-6C50-1215E3EA3460}"/>
          </ac:spMkLst>
        </pc:spChg>
      </pc:sldChg>
      <pc:sldChg chg="del">
        <pc:chgData name="Tường SKHĐT" userId="ab9568c39a88b08a" providerId="LiveId" clId="{7F40EFB6-A070-4129-923F-BA5C112CB3ED}" dt="2023-05-26T03:54:24.584" v="151" actId="2696"/>
        <pc:sldMkLst>
          <pc:docMk/>
          <pc:sldMk cId="851560278" sldId="2147473646"/>
        </pc:sldMkLst>
      </pc:sldChg>
      <pc:sldChg chg="modSp mod">
        <pc:chgData name="Tường SKHĐT" userId="ab9568c39a88b08a" providerId="LiveId" clId="{7F40EFB6-A070-4129-923F-BA5C112CB3ED}" dt="2023-05-26T04:07:09.190" v="533" actId="20577"/>
        <pc:sldMkLst>
          <pc:docMk/>
          <pc:sldMk cId="1686249856" sldId="2147473647"/>
        </pc:sldMkLst>
        <pc:spChg chg="mod">
          <ac:chgData name="Tường SKHĐT" userId="ab9568c39a88b08a" providerId="LiveId" clId="{7F40EFB6-A070-4129-923F-BA5C112CB3ED}" dt="2023-05-26T04:07:09.190" v="533" actId="20577"/>
          <ac:spMkLst>
            <pc:docMk/>
            <pc:sldMk cId="1686249856" sldId="2147473647"/>
            <ac:spMk id="3" creationId="{7D98E30B-6ED5-C1A8-9EDD-E7789E5EF592}"/>
          </ac:spMkLst>
        </pc:spChg>
        <pc:spChg chg="mod">
          <ac:chgData name="Tường SKHĐT" userId="ab9568c39a88b08a" providerId="LiveId" clId="{7F40EFB6-A070-4129-923F-BA5C112CB3ED}" dt="2023-05-26T04:05:14.251" v="460" actId="20577"/>
          <ac:spMkLst>
            <pc:docMk/>
            <pc:sldMk cId="1686249856" sldId="2147473647"/>
            <ac:spMk id="4" creationId="{5DDFB1B9-9FA7-5CF0-AB22-DCB06431AEA4}"/>
          </ac:spMkLst>
        </pc:spChg>
      </pc:sldChg>
      <pc:sldChg chg="modSp mod">
        <pc:chgData name="Tường SKHĐT" userId="ab9568c39a88b08a" providerId="LiveId" clId="{7F40EFB6-A070-4129-923F-BA5C112CB3ED}" dt="2023-05-26T04:05:11.735" v="458" actId="20577"/>
        <pc:sldMkLst>
          <pc:docMk/>
          <pc:sldMk cId="812435647" sldId="2147473649"/>
        </pc:sldMkLst>
        <pc:spChg chg="mod">
          <ac:chgData name="Tường SKHĐT" userId="ab9568c39a88b08a" providerId="LiveId" clId="{7F40EFB6-A070-4129-923F-BA5C112CB3ED}" dt="2023-05-26T04:04:56.822" v="452" actId="20577"/>
          <ac:spMkLst>
            <pc:docMk/>
            <pc:sldMk cId="812435647" sldId="2147473649"/>
            <ac:spMk id="3" creationId="{B532A25B-2F16-04E9-F35A-52506CFB26A9}"/>
          </ac:spMkLst>
        </pc:spChg>
        <pc:spChg chg="mod">
          <ac:chgData name="Tường SKHĐT" userId="ab9568c39a88b08a" providerId="LiveId" clId="{7F40EFB6-A070-4129-923F-BA5C112CB3ED}" dt="2023-05-26T04:05:11.735" v="458" actId="20577"/>
          <ac:spMkLst>
            <pc:docMk/>
            <pc:sldMk cId="812435647" sldId="2147473649"/>
            <ac:spMk id="4" creationId="{4C480D0D-7409-CDE3-E079-F2C1ED1FACE3}"/>
          </ac:spMkLst>
        </pc:spChg>
      </pc:sldChg>
      <pc:sldChg chg="modSp mod">
        <pc:chgData name="Tường SKHĐT" userId="ab9568c39a88b08a" providerId="LiveId" clId="{7F40EFB6-A070-4129-923F-BA5C112CB3ED}" dt="2023-05-26T04:05:03.787" v="454" actId="20577"/>
        <pc:sldMkLst>
          <pc:docMk/>
          <pc:sldMk cId="882842730" sldId="2147473651"/>
        </pc:sldMkLst>
        <pc:spChg chg="mod">
          <ac:chgData name="Tường SKHĐT" userId="ab9568c39a88b08a" providerId="LiveId" clId="{7F40EFB6-A070-4129-923F-BA5C112CB3ED}" dt="2023-05-26T04:04:48.590" v="448" actId="20577"/>
          <ac:spMkLst>
            <pc:docMk/>
            <pc:sldMk cId="882842730" sldId="2147473651"/>
            <ac:spMk id="5" creationId="{13C6177D-64B9-5B4D-AA6B-571EB29BED77}"/>
          </ac:spMkLst>
        </pc:spChg>
        <pc:spChg chg="mod">
          <ac:chgData name="Tường SKHĐT" userId="ab9568c39a88b08a" providerId="LiveId" clId="{7F40EFB6-A070-4129-923F-BA5C112CB3ED}" dt="2023-05-26T04:05:03.787" v="454" actId="20577"/>
          <ac:spMkLst>
            <pc:docMk/>
            <pc:sldMk cId="882842730" sldId="2147473651"/>
            <ac:spMk id="6" creationId="{AD8FCB44-5401-4810-551D-B0072A6956BA}"/>
          </ac:spMkLst>
        </pc:spChg>
      </pc:sldChg>
      <pc:sldChg chg="modSp mod">
        <pc:chgData name="Tường SKHĐT" userId="ab9568c39a88b08a" providerId="LiveId" clId="{7F40EFB6-A070-4129-923F-BA5C112CB3ED}" dt="2023-05-26T04:05:07.079" v="456" actId="20577"/>
        <pc:sldMkLst>
          <pc:docMk/>
          <pc:sldMk cId="2086378900" sldId="2147473652"/>
        </pc:sldMkLst>
        <pc:spChg chg="mod">
          <ac:chgData name="Tường SKHĐT" userId="ab9568c39a88b08a" providerId="LiveId" clId="{7F40EFB6-A070-4129-923F-BA5C112CB3ED}" dt="2023-05-26T04:04:53.166" v="450" actId="20577"/>
          <ac:spMkLst>
            <pc:docMk/>
            <pc:sldMk cId="2086378900" sldId="2147473652"/>
            <ac:spMk id="5" creationId="{13C6177D-64B9-5B4D-AA6B-571EB29BED77}"/>
          </ac:spMkLst>
        </pc:spChg>
        <pc:spChg chg="mod">
          <ac:chgData name="Tường SKHĐT" userId="ab9568c39a88b08a" providerId="LiveId" clId="{7F40EFB6-A070-4129-923F-BA5C112CB3ED}" dt="2023-05-26T04:05:07.079" v="456" actId="20577"/>
          <ac:spMkLst>
            <pc:docMk/>
            <pc:sldMk cId="2086378900" sldId="2147473652"/>
            <ac:spMk id="6" creationId="{AD8FCB44-5401-4810-551D-B0072A6956BA}"/>
          </ac:spMkLst>
        </pc:spChg>
      </pc:sldChg>
      <pc:sldChg chg="del">
        <pc:chgData name="Tường SKHĐT" userId="ab9568c39a88b08a" providerId="LiveId" clId="{7F40EFB6-A070-4129-923F-BA5C112CB3ED}" dt="2023-05-26T04:07:36.049" v="535" actId="2696"/>
        <pc:sldMkLst>
          <pc:docMk/>
          <pc:sldMk cId="3645745785" sldId="2147473655"/>
        </pc:sldMkLst>
      </pc:sldChg>
      <pc:sldChg chg="del">
        <pc:chgData name="Tường SKHĐT" userId="ab9568c39a88b08a" providerId="LiveId" clId="{7F40EFB6-A070-4129-923F-BA5C112CB3ED}" dt="2023-05-26T04:07:38.710" v="536" actId="2696"/>
        <pc:sldMkLst>
          <pc:docMk/>
          <pc:sldMk cId="2033493871" sldId="2147473656"/>
        </pc:sldMkLst>
      </pc:sldChg>
      <pc:sldChg chg="del">
        <pc:chgData name="Tường SKHĐT" userId="ab9568c39a88b08a" providerId="LiveId" clId="{7F40EFB6-A070-4129-923F-BA5C112CB3ED}" dt="2023-05-26T04:08:37.217" v="580" actId="2696"/>
        <pc:sldMkLst>
          <pc:docMk/>
          <pc:sldMk cId="332938349" sldId="2147473657"/>
        </pc:sldMkLst>
      </pc:sldChg>
      <pc:sldChg chg="modSp mod">
        <pc:chgData name="Tường SKHĐT" userId="ab9568c39a88b08a" providerId="LiveId" clId="{7F40EFB6-A070-4129-923F-BA5C112CB3ED}" dt="2023-05-26T04:05:28.031" v="471" actId="20577"/>
        <pc:sldMkLst>
          <pc:docMk/>
          <pc:sldMk cId="3727718023" sldId="2147473658"/>
        </pc:sldMkLst>
        <pc:spChg chg="mod">
          <ac:chgData name="Tường SKHĐT" userId="ab9568c39a88b08a" providerId="LiveId" clId="{7F40EFB6-A070-4129-923F-BA5C112CB3ED}" dt="2023-05-26T04:05:25.286" v="469" actId="20577"/>
          <ac:spMkLst>
            <pc:docMk/>
            <pc:sldMk cId="3727718023" sldId="2147473658"/>
            <ac:spMk id="5" creationId="{13C6177D-64B9-5B4D-AA6B-571EB29BED77}"/>
          </ac:spMkLst>
        </pc:spChg>
        <pc:spChg chg="mod">
          <ac:chgData name="Tường SKHĐT" userId="ab9568c39a88b08a" providerId="LiveId" clId="{7F40EFB6-A070-4129-923F-BA5C112CB3ED}" dt="2023-05-26T04:05:28.031" v="471" actId="20577"/>
          <ac:spMkLst>
            <pc:docMk/>
            <pc:sldMk cId="3727718023" sldId="2147473658"/>
            <ac:spMk id="6" creationId="{AD8FCB44-5401-4810-551D-B0072A6956BA}"/>
          </ac:spMkLst>
        </pc:spChg>
      </pc:sldChg>
      <pc:sldChg chg="del">
        <pc:chgData name="Tường SKHĐT" userId="ab9568c39a88b08a" providerId="LiveId" clId="{7F40EFB6-A070-4129-923F-BA5C112CB3ED}" dt="2023-05-26T04:07:30.111" v="534" actId="2696"/>
        <pc:sldMkLst>
          <pc:docMk/>
          <pc:sldMk cId="2891869655" sldId="2147473659"/>
        </pc:sldMkLst>
      </pc:sldChg>
      <pc:sldChg chg="del">
        <pc:chgData name="Tường SKHĐT" userId="ab9568c39a88b08a" providerId="LiveId" clId="{7F40EFB6-A070-4129-923F-BA5C112CB3ED}" dt="2023-05-26T04:12:29.222" v="604" actId="2696"/>
        <pc:sldMkLst>
          <pc:docMk/>
          <pc:sldMk cId="3797015765" sldId="2147473661"/>
        </pc:sldMkLst>
      </pc:sldChg>
      <pc:sldChg chg="modSp mod">
        <pc:chgData name="Tường SKHĐT" userId="ab9568c39a88b08a" providerId="LiveId" clId="{7F40EFB6-A070-4129-923F-BA5C112CB3ED}" dt="2023-05-26T04:07:03.782" v="531" actId="20577"/>
        <pc:sldMkLst>
          <pc:docMk/>
          <pc:sldMk cId="101557646" sldId="2147473662"/>
        </pc:sldMkLst>
        <pc:spChg chg="mod">
          <ac:chgData name="Tường SKHĐT" userId="ab9568c39a88b08a" providerId="LiveId" clId="{7F40EFB6-A070-4129-923F-BA5C112CB3ED}" dt="2023-05-26T04:07:03.782" v="531" actId="20577"/>
          <ac:spMkLst>
            <pc:docMk/>
            <pc:sldMk cId="101557646" sldId="2147473662"/>
            <ac:spMk id="8" creationId="{51A7F574-DAB9-DE07-855C-2538DCD307B8}"/>
          </ac:spMkLst>
        </pc:spChg>
        <pc:spChg chg="mod">
          <ac:chgData name="Tường SKHĐT" userId="ab9568c39a88b08a" providerId="LiveId" clId="{7F40EFB6-A070-4129-923F-BA5C112CB3ED}" dt="2023-05-26T04:05:17.438" v="462" actId="20577"/>
          <ac:spMkLst>
            <pc:docMk/>
            <pc:sldMk cId="101557646" sldId="2147473662"/>
            <ac:spMk id="10" creationId="{99B4B44D-D9C2-C082-591B-8A4A5C18BE6A}"/>
          </ac:spMkLst>
        </pc:spChg>
      </pc:sldChg>
      <pc:sldChg chg="del">
        <pc:chgData name="Tường SKHĐT" userId="ab9568c39a88b08a" providerId="LiveId" clId="{7F40EFB6-A070-4129-923F-BA5C112CB3ED}" dt="2023-05-26T04:12:12.253" v="601" actId="2696"/>
        <pc:sldMkLst>
          <pc:docMk/>
          <pc:sldMk cId="3377202240" sldId="2147473663"/>
        </pc:sldMkLst>
      </pc:sldChg>
      <pc:sldChg chg="del">
        <pc:chgData name="Tường SKHĐT" userId="ab9568c39a88b08a" providerId="LiveId" clId="{7F40EFB6-A070-4129-923F-BA5C112CB3ED}" dt="2023-05-26T04:11:06.339" v="599" actId="2696"/>
        <pc:sldMkLst>
          <pc:docMk/>
          <pc:sldMk cId="445558377" sldId="2147473666"/>
        </pc:sldMkLst>
      </pc:sldChg>
      <pc:sldChg chg="del">
        <pc:chgData name="Tường SKHĐT" userId="ab9568c39a88b08a" providerId="LiveId" clId="{7F40EFB6-A070-4129-923F-BA5C112CB3ED}" dt="2023-05-26T04:11:06.339" v="599" actId="2696"/>
        <pc:sldMkLst>
          <pc:docMk/>
          <pc:sldMk cId="303836013" sldId="2147473667"/>
        </pc:sldMkLst>
      </pc:sldChg>
      <pc:sldChg chg="del">
        <pc:chgData name="Tường SKHĐT" userId="ab9568c39a88b08a" providerId="LiveId" clId="{7F40EFB6-A070-4129-923F-BA5C112CB3ED}" dt="2023-05-26T04:11:06.339" v="599" actId="2696"/>
        <pc:sldMkLst>
          <pc:docMk/>
          <pc:sldMk cId="1635743029" sldId="2147473668"/>
        </pc:sldMkLst>
      </pc:sldChg>
      <pc:sldChg chg="del">
        <pc:chgData name="Tường SKHĐT" userId="ab9568c39a88b08a" providerId="LiveId" clId="{7F40EFB6-A070-4129-923F-BA5C112CB3ED}" dt="2023-05-26T04:12:21.449" v="602" actId="2696"/>
        <pc:sldMkLst>
          <pc:docMk/>
          <pc:sldMk cId="4014955884" sldId="2147473669"/>
        </pc:sldMkLst>
      </pc:sldChg>
      <pc:sldChg chg="del">
        <pc:chgData name="Tường SKHĐT" userId="ab9568c39a88b08a" providerId="LiveId" clId="{7F40EFB6-A070-4129-923F-BA5C112CB3ED}" dt="2023-05-26T04:14:22.887" v="605" actId="2696"/>
        <pc:sldMkLst>
          <pc:docMk/>
          <pc:sldMk cId="3504603032" sldId="2147473673"/>
        </pc:sldMkLst>
      </pc:sldChg>
      <pc:sldChg chg="del">
        <pc:chgData name="Tường SKHĐT" userId="ab9568c39a88b08a" providerId="LiveId" clId="{7F40EFB6-A070-4129-923F-BA5C112CB3ED}" dt="2023-05-26T04:14:22.887" v="605" actId="2696"/>
        <pc:sldMkLst>
          <pc:docMk/>
          <pc:sldMk cId="2054937218" sldId="2147473674"/>
        </pc:sldMkLst>
      </pc:sldChg>
      <pc:sldChg chg="del">
        <pc:chgData name="Tường SKHĐT" userId="ab9568c39a88b08a" providerId="LiveId" clId="{7F40EFB6-A070-4129-923F-BA5C112CB3ED}" dt="2023-05-26T04:14:22.887" v="605" actId="2696"/>
        <pc:sldMkLst>
          <pc:docMk/>
          <pc:sldMk cId="1659633241" sldId="2147473675"/>
        </pc:sldMkLst>
      </pc:sldChg>
      <pc:sldChg chg="del">
        <pc:chgData name="Tường SKHĐT" userId="ab9568c39a88b08a" providerId="LiveId" clId="{7F40EFB6-A070-4129-923F-BA5C112CB3ED}" dt="2023-05-26T04:14:22.887" v="605" actId="2696"/>
        <pc:sldMkLst>
          <pc:docMk/>
          <pc:sldMk cId="1318858644" sldId="2147473676"/>
        </pc:sldMkLst>
      </pc:sldChg>
      <pc:sldChg chg="del">
        <pc:chgData name="Tường SKHĐT" userId="ab9568c39a88b08a" providerId="LiveId" clId="{7F40EFB6-A070-4129-923F-BA5C112CB3ED}" dt="2023-05-26T04:14:22.887" v="605" actId="2696"/>
        <pc:sldMkLst>
          <pc:docMk/>
          <pc:sldMk cId="3962294555" sldId="2147473677"/>
        </pc:sldMkLst>
      </pc:sldChg>
      <pc:sldChg chg="del">
        <pc:chgData name="Tường SKHĐT" userId="ab9568c39a88b08a" providerId="LiveId" clId="{7F40EFB6-A070-4129-923F-BA5C112CB3ED}" dt="2023-05-26T04:14:22.887" v="605" actId="2696"/>
        <pc:sldMkLst>
          <pc:docMk/>
          <pc:sldMk cId="2692583536" sldId="2147473678"/>
        </pc:sldMkLst>
      </pc:sldChg>
      <pc:sldChg chg="del">
        <pc:chgData name="Tường SKHĐT" userId="ab9568c39a88b08a" providerId="LiveId" clId="{7F40EFB6-A070-4129-923F-BA5C112CB3ED}" dt="2023-05-26T04:14:31.331" v="606" actId="2696"/>
        <pc:sldMkLst>
          <pc:docMk/>
          <pc:sldMk cId="3177858066" sldId="2147473679"/>
        </pc:sldMkLst>
      </pc:sldChg>
      <pc:sldChg chg="del">
        <pc:chgData name="Tường SKHĐT" userId="ab9568c39a88b08a" providerId="LiveId" clId="{7F40EFB6-A070-4129-923F-BA5C112CB3ED}" dt="2023-05-26T04:10:57.056" v="598" actId="2696"/>
        <pc:sldMkLst>
          <pc:docMk/>
          <pc:sldMk cId="3847146912" sldId="2147473680"/>
        </pc:sldMkLst>
      </pc:sldChg>
      <pc:sldChg chg="modSp mod">
        <pc:chgData name="Tường SKHĐT" userId="ab9568c39a88b08a" providerId="LiveId" clId="{7F40EFB6-A070-4129-923F-BA5C112CB3ED}" dt="2023-05-26T04:10:49.931" v="597" actId="20577"/>
        <pc:sldMkLst>
          <pc:docMk/>
          <pc:sldMk cId="293803616" sldId="2147473681"/>
        </pc:sldMkLst>
        <pc:graphicFrameChg chg="modGraphic">
          <ac:chgData name="Tường SKHĐT" userId="ab9568c39a88b08a" providerId="LiveId" clId="{7F40EFB6-A070-4129-923F-BA5C112CB3ED}" dt="2023-05-26T04:10:49.931" v="597" actId="20577"/>
          <ac:graphicFrameMkLst>
            <pc:docMk/>
            <pc:sldMk cId="293803616" sldId="2147473681"/>
            <ac:graphicFrameMk id="8" creationId="{B5E5335D-2EED-82AF-3A59-FAE8BB94EAE1}"/>
          </ac:graphicFrameMkLst>
        </pc:graphicFrameChg>
      </pc:sldChg>
      <pc:sldChg chg="del">
        <pc:chgData name="Tường SKHĐT" userId="ab9568c39a88b08a" providerId="LiveId" clId="{7F40EFB6-A070-4129-923F-BA5C112CB3ED}" dt="2023-05-26T04:14:22.887" v="605" actId="2696"/>
        <pc:sldMkLst>
          <pc:docMk/>
          <pc:sldMk cId="2891713991" sldId="2147473682"/>
        </pc:sldMkLst>
      </pc:sldChg>
      <pc:sldChg chg="del">
        <pc:chgData name="Tường SKHĐT" userId="ab9568c39a88b08a" providerId="LiveId" clId="{7F40EFB6-A070-4129-923F-BA5C112CB3ED}" dt="2023-05-26T04:12:26.242" v="603" actId="2696"/>
        <pc:sldMkLst>
          <pc:docMk/>
          <pc:sldMk cId="362652152" sldId="2147473700"/>
        </pc:sldMkLst>
      </pc:sldChg>
      <pc:sldChg chg="add">
        <pc:chgData name="Tường SKHĐT" userId="ab9568c39a88b08a" providerId="LiveId" clId="{7F40EFB6-A070-4129-923F-BA5C112CB3ED}" dt="2023-05-26T04:00:19.520" v="369"/>
        <pc:sldMkLst>
          <pc:docMk/>
          <pc:sldMk cId="1628374629" sldId="2147473704"/>
        </pc:sldMkLst>
      </pc:sldChg>
      <pc:sldChg chg="del">
        <pc:chgData name="Tường SKHĐT" userId="ab9568c39a88b08a" providerId="LiveId" clId="{7F40EFB6-A070-4129-923F-BA5C112CB3ED}" dt="2023-05-26T04:16:57.276" v="609" actId="2696"/>
        <pc:sldMkLst>
          <pc:docMk/>
          <pc:sldMk cId="1124149324" sldId="2147473714"/>
        </pc:sldMkLst>
      </pc:sldChg>
      <pc:sldChg chg="del">
        <pc:chgData name="Tường SKHĐT" userId="ab9568c39a88b08a" providerId="LiveId" clId="{7F40EFB6-A070-4129-923F-BA5C112CB3ED}" dt="2023-05-26T04:16:40.809" v="608" actId="2696"/>
        <pc:sldMkLst>
          <pc:docMk/>
          <pc:sldMk cId="3922024460" sldId="2147473718"/>
        </pc:sldMkLst>
      </pc:sldChg>
      <pc:sldChg chg="del">
        <pc:chgData name="Tường SKHĐT" userId="ab9568c39a88b08a" providerId="LiveId" clId="{7F40EFB6-A070-4129-923F-BA5C112CB3ED}" dt="2023-05-26T04:16:40.809" v="608" actId="2696"/>
        <pc:sldMkLst>
          <pc:docMk/>
          <pc:sldMk cId="3384527337" sldId="2147473719"/>
        </pc:sldMkLst>
      </pc:sldChg>
      <pc:sldChg chg="del">
        <pc:chgData name="Tường SKHĐT" userId="ab9568c39a88b08a" providerId="LiveId" clId="{7F40EFB6-A070-4129-923F-BA5C112CB3ED}" dt="2023-05-26T04:16:15.369" v="607" actId="2696"/>
        <pc:sldMkLst>
          <pc:docMk/>
          <pc:sldMk cId="1052792772" sldId="2147473723"/>
        </pc:sldMkLst>
      </pc:sldChg>
      <pc:sldChg chg="del">
        <pc:chgData name="Tường SKHĐT" userId="ab9568c39a88b08a" providerId="LiveId" clId="{7F40EFB6-A070-4129-923F-BA5C112CB3ED}" dt="2023-05-26T04:16:15.369" v="607" actId="2696"/>
        <pc:sldMkLst>
          <pc:docMk/>
          <pc:sldMk cId="3515261572" sldId="2147473724"/>
        </pc:sldMkLst>
      </pc:sldChg>
      <pc:sldChg chg="add del">
        <pc:chgData name="Tường SKHĐT" userId="ab9568c39a88b08a" providerId="LiveId" clId="{7F40EFB6-A070-4129-923F-BA5C112CB3ED}" dt="2023-05-26T04:06:11.501" v="522" actId="2696"/>
        <pc:sldMkLst>
          <pc:docMk/>
          <pc:sldMk cId="1198036239" sldId="2147473725"/>
        </pc:sldMkLst>
      </pc:sldChg>
      <pc:sldChg chg="addSp modSp add mod">
        <pc:chgData name="Tường SKHĐT" userId="ab9568c39a88b08a" providerId="LiveId" clId="{7F40EFB6-A070-4129-923F-BA5C112CB3ED}" dt="2023-05-26T04:09:03.856" v="586" actId="1076"/>
        <pc:sldMkLst>
          <pc:docMk/>
          <pc:sldMk cId="909716554" sldId="2147473727"/>
        </pc:sldMkLst>
        <pc:spChg chg="add mod">
          <ac:chgData name="Tường SKHĐT" userId="ab9568c39a88b08a" providerId="LiveId" clId="{7F40EFB6-A070-4129-923F-BA5C112CB3ED}" dt="2023-05-26T04:08:50.643" v="582" actId="1076"/>
          <ac:spMkLst>
            <pc:docMk/>
            <pc:sldMk cId="909716554" sldId="2147473727"/>
            <ac:spMk id="2" creationId="{9B1EE58E-003F-122B-AAA3-4CD0DC67997A}"/>
          </ac:spMkLst>
        </pc:spChg>
        <pc:spChg chg="mod">
          <ac:chgData name="Tường SKHĐT" userId="ab9568c39a88b08a" providerId="LiveId" clId="{7F40EFB6-A070-4129-923F-BA5C112CB3ED}" dt="2023-05-26T04:08:58.966" v="585" actId="404"/>
          <ac:spMkLst>
            <pc:docMk/>
            <pc:sldMk cId="909716554" sldId="2147473727"/>
            <ac:spMk id="11" creationId="{01DC26C3-E6F4-C27A-8624-3A65D81B6008}"/>
          </ac:spMkLst>
        </pc:spChg>
        <pc:graphicFrameChg chg="mod">
          <ac:chgData name="Tường SKHĐT" userId="ab9568c39a88b08a" providerId="LiveId" clId="{7F40EFB6-A070-4129-923F-BA5C112CB3ED}" dt="2023-05-26T04:09:03.856" v="586" actId="1076"/>
          <ac:graphicFrameMkLst>
            <pc:docMk/>
            <pc:sldMk cId="909716554" sldId="2147473727"/>
            <ac:graphicFrameMk id="5" creationId="{B5E5335D-2EED-82AF-3A59-FAE8BB94EAE1}"/>
          </ac:graphicFrameMkLst>
        </pc:graphicFrameChg>
      </pc:sldChg>
      <pc:sldChg chg="addSp modSp add mod">
        <pc:chgData name="Tường SKHĐT" userId="ab9568c39a88b08a" providerId="LiveId" clId="{7F40EFB6-A070-4129-923F-BA5C112CB3ED}" dt="2023-05-26T04:09:20.524" v="593" actId="1076"/>
        <pc:sldMkLst>
          <pc:docMk/>
          <pc:sldMk cId="964652449" sldId="2147473728"/>
        </pc:sldMkLst>
        <pc:spChg chg="add mod">
          <ac:chgData name="Tường SKHĐT" userId="ab9568c39a88b08a" providerId="LiveId" clId="{7F40EFB6-A070-4129-923F-BA5C112CB3ED}" dt="2023-05-26T04:09:10.584" v="588" actId="1076"/>
          <ac:spMkLst>
            <pc:docMk/>
            <pc:sldMk cId="964652449" sldId="2147473728"/>
            <ac:spMk id="2" creationId="{D58423EA-6FCB-50BC-D182-938077ECA949}"/>
          </ac:spMkLst>
        </pc:spChg>
        <pc:spChg chg="mod">
          <ac:chgData name="Tường SKHĐT" userId="ab9568c39a88b08a" providerId="LiveId" clId="{7F40EFB6-A070-4129-923F-BA5C112CB3ED}" dt="2023-05-26T04:09:17.660" v="592" actId="403"/>
          <ac:spMkLst>
            <pc:docMk/>
            <pc:sldMk cId="964652449" sldId="2147473728"/>
            <ac:spMk id="11" creationId="{01DC26C3-E6F4-C27A-8624-3A65D81B6008}"/>
          </ac:spMkLst>
        </pc:spChg>
        <pc:graphicFrameChg chg="mod">
          <ac:chgData name="Tường SKHĐT" userId="ab9568c39a88b08a" providerId="LiveId" clId="{7F40EFB6-A070-4129-923F-BA5C112CB3ED}" dt="2023-05-26T04:09:20.524" v="593" actId="1076"/>
          <ac:graphicFrameMkLst>
            <pc:docMk/>
            <pc:sldMk cId="964652449" sldId="2147473728"/>
            <ac:graphicFrameMk id="5" creationId="{B5E5335D-2EED-82AF-3A59-FAE8BB94EAE1}"/>
          </ac:graphicFrameMkLst>
        </pc:graphicFrameChg>
      </pc:sldChg>
      <pc:sldChg chg="addSp delSp modSp add mod">
        <pc:chgData name="Tường SKHĐT" userId="ab9568c39a88b08a" providerId="LiveId" clId="{7F40EFB6-A070-4129-923F-BA5C112CB3ED}" dt="2023-05-26T04:06:03.770" v="521" actId="1076"/>
        <pc:sldMkLst>
          <pc:docMk/>
          <pc:sldMk cId="505796185" sldId="2147473729"/>
        </pc:sldMkLst>
        <pc:spChg chg="add mod">
          <ac:chgData name="Tường SKHĐT" userId="ab9568c39a88b08a" providerId="LiveId" clId="{7F40EFB6-A070-4129-923F-BA5C112CB3ED}" dt="2023-05-26T04:05:56.793" v="520" actId="1036"/>
          <ac:spMkLst>
            <pc:docMk/>
            <pc:sldMk cId="505796185" sldId="2147473729"/>
            <ac:spMk id="4" creationId="{1FA84E38-1AE4-2FD2-269D-531A1D51424D}"/>
          </ac:spMkLst>
        </pc:spChg>
        <pc:spChg chg="del">
          <ac:chgData name="Tường SKHĐT" userId="ab9568c39a88b08a" providerId="LiveId" clId="{7F40EFB6-A070-4129-923F-BA5C112CB3ED}" dt="2023-05-26T04:05:39.778" v="472" actId="21"/>
          <ac:spMkLst>
            <pc:docMk/>
            <pc:sldMk cId="505796185" sldId="2147473729"/>
            <ac:spMk id="5" creationId="{13C6177D-64B9-5B4D-AA6B-571EB29BED77}"/>
          </ac:spMkLst>
        </pc:spChg>
        <pc:spChg chg="mod">
          <ac:chgData name="Tường SKHĐT" userId="ab9568c39a88b08a" providerId="LiveId" clId="{7F40EFB6-A070-4129-923F-BA5C112CB3ED}" dt="2023-05-26T04:05:56.793" v="520" actId="1036"/>
          <ac:spMkLst>
            <pc:docMk/>
            <pc:sldMk cId="505796185" sldId="2147473729"/>
            <ac:spMk id="6" creationId="{AD8FCB44-5401-4810-551D-B0072A6956BA}"/>
          </ac:spMkLst>
        </pc:spChg>
        <pc:spChg chg="add mod">
          <ac:chgData name="Tường SKHĐT" userId="ab9568c39a88b08a" providerId="LiveId" clId="{7F40EFB6-A070-4129-923F-BA5C112CB3ED}" dt="2023-05-26T04:05:56.793" v="520" actId="1036"/>
          <ac:spMkLst>
            <pc:docMk/>
            <pc:sldMk cId="505796185" sldId="2147473729"/>
            <ac:spMk id="8" creationId="{E4620DA0-DCF6-700E-9776-6805AE4114E9}"/>
          </ac:spMkLst>
        </pc:spChg>
        <pc:spChg chg="add mod">
          <ac:chgData name="Tường SKHĐT" userId="ab9568c39a88b08a" providerId="LiveId" clId="{7F40EFB6-A070-4129-923F-BA5C112CB3ED}" dt="2023-05-26T04:05:56.793" v="520" actId="1036"/>
          <ac:spMkLst>
            <pc:docMk/>
            <pc:sldMk cId="505796185" sldId="2147473729"/>
            <ac:spMk id="9" creationId="{CE322719-97A4-00CC-C0B6-CACE800FAA68}"/>
          </ac:spMkLst>
        </pc:spChg>
        <pc:graphicFrameChg chg="del">
          <ac:chgData name="Tường SKHĐT" userId="ab9568c39a88b08a" providerId="LiveId" clId="{7F40EFB6-A070-4129-923F-BA5C112CB3ED}" dt="2023-05-26T04:01:35.041" v="377" actId="21"/>
          <ac:graphicFrameMkLst>
            <pc:docMk/>
            <pc:sldMk cId="505796185" sldId="2147473729"/>
            <ac:graphicFrameMk id="2" creationId="{3E45EC01-8919-CDD1-BF49-FD790779B8D8}"/>
          </ac:graphicFrameMkLst>
        </pc:graphicFrameChg>
        <pc:graphicFrameChg chg="add mod modGraphic">
          <ac:chgData name="Tường SKHĐT" userId="ab9568c39a88b08a" providerId="LiveId" clId="{7F40EFB6-A070-4129-923F-BA5C112CB3ED}" dt="2023-05-26T04:06:03.770" v="521" actId="1076"/>
          <ac:graphicFrameMkLst>
            <pc:docMk/>
            <pc:sldMk cId="505796185" sldId="2147473729"/>
            <ac:graphicFrameMk id="3" creationId="{19F8C869-87A6-0F98-C7BC-7F547BC514A6}"/>
          </ac:graphicFrameMkLst>
        </pc:graphicFrameChg>
        <pc:graphicFrameChg chg="del">
          <ac:chgData name="Tường SKHĐT" userId="ab9568c39a88b08a" providerId="LiveId" clId="{7F40EFB6-A070-4129-923F-BA5C112CB3ED}" dt="2023-05-26T04:01:36.746" v="378" actId="21"/>
          <ac:graphicFrameMkLst>
            <pc:docMk/>
            <pc:sldMk cId="505796185" sldId="2147473729"/>
            <ac:graphicFrameMk id="7" creationId="{BD7AA84A-7BB7-C999-60CC-D8478BD0C8EB}"/>
          </ac:graphicFrameMkLst>
        </pc:graphicFrameChg>
      </pc:sldChg>
      <pc:sldChg chg="modSp add mod">
        <pc:chgData name="Tường SKHĐT" userId="ab9568c39a88b08a" providerId="LiveId" clId="{7F40EFB6-A070-4129-923F-BA5C112CB3ED}" dt="2023-05-26T04:06:54.175" v="529" actId="20577"/>
        <pc:sldMkLst>
          <pc:docMk/>
          <pc:sldMk cId="3781609734" sldId="2147473730"/>
        </pc:sldMkLst>
        <pc:spChg chg="mod">
          <ac:chgData name="Tường SKHĐT" userId="ab9568c39a88b08a" providerId="LiveId" clId="{7F40EFB6-A070-4129-923F-BA5C112CB3ED}" dt="2023-05-26T04:06:54.175" v="529" actId="20577"/>
          <ac:spMkLst>
            <pc:docMk/>
            <pc:sldMk cId="3781609734" sldId="2147473730"/>
            <ac:spMk id="4" creationId="{6D7BA806-B2F6-ED1E-87D4-1F3C6CD0DF11}"/>
          </ac:spMkLst>
        </pc:spChg>
        <pc:spChg chg="mod">
          <ac:chgData name="Tường SKHĐT" userId="ab9568c39a88b08a" providerId="LiveId" clId="{7F40EFB6-A070-4129-923F-BA5C112CB3ED}" dt="2023-05-26T04:06:51.697" v="527" actId="20577"/>
          <ac:spMkLst>
            <pc:docMk/>
            <pc:sldMk cId="3781609734" sldId="2147473730"/>
            <ac:spMk id="11" creationId="{93FFF217-153B-EFDD-801E-B14BBC611760}"/>
          </ac:spMkLst>
        </pc:spChg>
      </pc:sldChg>
      <pc:sldChg chg="delSp modSp add mod">
        <pc:chgData name="Tường SKHĐT" userId="ab9568c39a88b08a" providerId="LiveId" clId="{7F40EFB6-A070-4129-923F-BA5C112CB3ED}" dt="2023-05-26T04:08:33.250" v="579" actId="1076"/>
        <pc:sldMkLst>
          <pc:docMk/>
          <pc:sldMk cId="1531660894" sldId="2147473731"/>
        </pc:sldMkLst>
        <pc:spChg chg="del">
          <ac:chgData name="Tường SKHĐT" userId="ab9568c39a88b08a" providerId="LiveId" clId="{7F40EFB6-A070-4129-923F-BA5C112CB3ED}" dt="2023-05-26T04:08:29.707" v="577" actId="21"/>
          <ac:spMkLst>
            <pc:docMk/>
            <pc:sldMk cId="1531660894" sldId="2147473731"/>
            <ac:spMk id="6" creationId="{92405935-9037-2264-EBA5-31E82349A474}"/>
          </ac:spMkLst>
        </pc:spChg>
        <pc:spChg chg="mod">
          <ac:chgData name="Tường SKHĐT" userId="ab9568c39a88b08a" providerId="LiveId" clId="{7F40EFB6-A070-4129-923F-BA5C112CB3ED}" dt="2023-05-26T04:08:33.250" v="579" actId="1076"/>
          <ac:spMkLst>
            <pc:docMk/>
            <pc:sldMk cId="1531660894" sldId="2147473731"/>
            <ac:spMk id="9" creationId="{18AC359A-8ADF-9DAA-4CA1-F82A916F1E2E}"/>
          </ac:spMkLst>
        </pc:spChg>
        <pc:graphicFrameChg chg="modGraphic">
          <ac:chgData name="Tường SKHĐT" userId="ab9568c39a88b08a" providerId="LiveId" clId="{7F40EFB6-A070-4129-923F-BA5C112CB3ED}" dt="2023-05-26T04:08:20.239" v="576" actId="20577"/>
          <ac:graphicFrameMkLst>
            <pc:docMk/>
            <pc:sldMk cId="1531660894" sldId="2147473731"/>
            <ac:graphicFrameMk id="8" creationId="{B5E5335D-2EED-82AF-3A59-FAE8BB94EAE1}"/>
          </ac:graphicFrameMkLst>
        </pc:graphicFrameChg>
        <pc:cxnChg chg="del">
          <ac:chgData name="Tường SKHĐT" userId="ab9568c39a88b08a" providerId="LiveId" clId="{7F40EFB6-A070-4129-923F-BA5C112CB3ED}" dt="2023-05-26T04:08:31.057" v="578" actId="21"/>
          <ac:cxnSpMkLst>
            <pc:docMk/>
            <pc:sldMk cId="1531660894" sldId="2147473731"/>
            <ac:cxnSpMk id="7" creationId="{B32367A8-7646-EBBA-9144-BEC13126AB4A}"/>
          </ac:cxnSpMkLst>
        </pc:cxnChg>
      </pc:sldChg>
      <pc:sldMasterChg chg="delSldLayout">
        <pc:chgData name="Tường SKHĐT" userId="ab9568c39a88b08a" providerId="LiveId" clId="{7F40EFB6-A070-4129-923F-BA5C112CB3ED}" dt="2023-05-26T04:12:21.449" v="602" actId="2696"/>
        <pc:sldMasterMkLst>
          <pc:docMk/>
          <pc:sldMasterMk cId="2184812212" sldId="2147483912"/>
        </pc:sldMasterMkLst>
        <pc:sldLayoutChg chg="del">
          <pc:chgData name="Tường SKHĐT" userId="ab9568c39a88b08a" providerId="LiveId" clId="{7F40EFB6-A070-4129-923F-BA5C112CB3ED}" dt="2023-05-26T04:12:21.449" v="602" actId="2696"/>
          <pc:sldLayoutMkLst>
            <pc:docMk/>
            <pc:sldMasterMk cId="2184812212" sldId="2147483912"/>
            <pc:sldLayoutMk cId="4152218122" sldId="2147483934"/>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2.xml.rels><?xml version="1.0" encoding="UTF-8" standalone="yes"?>
<Relationships xmlns="http://schemas.openxmlformats.org/package/2006/relationships"><Relationship Id="rId2" Type="http://schemas.openxmlformats.org/officeDocument/2006/relationships/oleObject" Target="https://d.docs.live.net/ab9568c39a88b08a/TUONG%20TH/03%20-%20B&#193;O%20C&#193;O%20KTXH%20-%20&#272;TPT/B&#225;o%20c&#225;o%20KTXH%202023/Qu&#253;%20II/GRDP/T&#259;ng%20truong%206%20thang%20dau%20nam%202023%2063%20T&#7880;nh%20th&#224;nh%20ph&#7889;.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https://d.docs.live.net/ab9568c39a88b08a/TUONG%20TH/03%20-%20B&#193;O%20C&#193;O%20KTXH%20-%20&#272;TPT/B&#225;o%20c&#225;o%20KTXH%202023/Qu&#253;%20II/GRDP/T&#259;ng%20truong%206%20thang%20dau%20nam%202023%2063%20T&#7880;nh%20th&#224;nh%20ph&#7889;.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Qu&#253;%20II/GRDP/TONG%20GIA%20TRI%20SAN%20PHAM/CTK%20-%20GRDP%20HHSS%20uoc%20tinh%20TGTSP%206th%202023%20gui%20huyen.xlsx" TargetMode="External"/><Relationship Id="rId2" Type="http://schemas.microsoft.com/office/2011/relationships/chartColorStyle" Target="colors1.xml"/><Relationship Id="rId1" Type="http://schemas.microsoft.com/office/2011/relationships/chartStyle" Target="style1.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Qu&#253;%20II/GRDP/TONG%20GIA%20TRI%20SAN%20PHAM/CTK%20-%20GRDP%20HHSS%20uoc%20tinh%20TGTSP%206th%202023%20gui%20huyen.xlsx" TargetMode="External"/><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12.6.2023/X&#7871;p%20h&#7841;ng%20gi&#7843;i%20ng&#226;n%2031.05.2023.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09792400067895E-2"/>
          <c:y val="7.6128005109497757E-2"/>
          <c:w val="0.92854905101449747"/>
          <c:h val="0.80104250664842003"/>
        </c:manualLayout>
      </c:layout>
      <c:barChart>
        <c:barDir val="col"/>
        <c:grouping val="clustered"/>
        <c:varyColors val="0"/>
        <c:ser>
          <c:idx val="0"/>
          <c:order val="0"/>
          <c:tx>
            <c:strRef>
              <c:f>Sheet1!$B$1</c:f>
              <c:strCache>
                <c:ptCount val="1"/>
                <c:pt idx="0">
                  <c:v>Tốc độ tăng trưởng</c:v>
                </c:pt>
              </c:strCache>
            </c:strRef>
          </c:tx>
          <c:spPr>
            <a:solidFill>
              <a:schemeClr val="accent1">
                <a:lumMod val="75000"/>
              </a:schemeClr>
            </a:solidFill>
            <a:ln>
              <a:solidFill>
                <a:schemeClr val="accent6">
                  <a:lumMod val="50000"/>
                </a:schemeClr>
              </a:solidFill>
            </a:ln>
            <a:effectLst>
              <a:outerShdw blurRad="50800" dist="38100" dir="2700000" algn="tl" rotWithShape="0">
                <a:prstClr val="black">
                  <a:alpha val="40000"/>
                </a:prstClr>
              </a:outerShdw>
            </a:effectLst>
          </c:spPr>
          <c:invertIfNegative val="0"/>
          <c:dPt>
            <c:idx val="0"/>
            <c:invertIfNegative val="0"/>
            <c:bubble3D val="0"/>
            <c:spPr>
              <a:solidFill>
                <a:srgbClr val="FF0000"/>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9AD-43BE-A760-B70CD79EA4C7}"/>
              </c:ext>
            </c:extLst>
          </c:dPt>
          <c:dPt>
            <c:idx val="1"/>
            <c:invertIfNegative val="0"/>
            <c:bubble3D val="0"/>
            <c:extLst>
              <c:ext xmlns:c16="http://schemas.microsoft.com/office/drawing/2014/chart" uri="{C3380CC4-5D6E-409C-BE32-E72D297353CC}">
                <c16:uniqueId val="{00000002-1046-4EC0-89AC-E4AAE47D661A}"/>
              </c:ext>
            </c:extLst>
          </c:dPt>
          <c:dPt>
            <c:idx val="2"/>
            <c:invertIfNegative val="0"/>
            <c:bubble3D val="0"/>
            <c:spPr>
              <a:solidFill>
                <a:schemeClr val="accent2">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79AD-43BE-A760-B70CD79EA4C7}"/>
              </c:ext>
            </c:extLst>
          </c:dPt>
          <c:dPt>
            <c:idx val="3"/>
            <c:invertIfNegative val="0"/>
            <c:bubble3D val="0"/>
            <c:spPr>
              <a:solidFill>
                <a:schemeClr val="accent6">
                  <a:lumMod val="75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79AD-43BE-A760-B70CD79EA4C7}"/>
              </c:ext>
            </c:extLst>
          </c:dPt>
          <c:dPt>
            <c:idx val="4"/>
            <c:invertIfNegative val="0"/>
            <c:bubble3D val="0"/>
            <c:spPr>
              <a:solidFill>
                <a:schemeClr val="tx2"/>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8-79AD-43BE-A760-B70CD79EA4C7}"/>
              </c:ext>
            </c:extLst>
          </c:dPt>
          <c:dLbls>
            <c:dLbl>
              <c:idx val="0"/>
              <c:layout>
                <c:manualLayout>
                  <c:x val="9.1565859104656526E-3"/>
                  <c:y val="-1.1516309590362672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AD-43BE-A760-B70CD79EA4C7}"/>
                </c:ext>
              </c:extLst>
            </c:dLbl>
            <c:dLbl>
              <c:idx val="1"/>
              <c:layout>
                <c:manualLayout>
                  <c:x val="6.360878692784334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46-4EC0-89AC-E4AAE47D661A}"/>
                </c:ext>
              </c:extLst>
            </c:dLbl>
            <c:dLbl>
              <c:idx val="2"/>
              <c:layout>
                <c:manualLayout>
                  <c:x val="7.951098365980418E-3"/>
                  <c:y val="-5.887442853523609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9AD-43BE-A760-B70CD79EA4C7}"/>
                </c:ext>
              </c:extLst>
            </c:dLbl>
            <c:dLbl>
              <c:idx val="3"/>
              <c:layout>
                <c:manualLayout>
                  <c:x val="1.2721757385568669E-2"/>
                  <c:y val="6.4227391262900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9AD-43BE-A760-B70CD79EA4C7}"/>
                </c:ext>
              </c:extLst>
            </c:dLbl>
            <c:dLbl>
              <c:idx val="4"/>
              <c:layout>
                <c:manualLayout>
                  <c:x val="6.3608786927842175E-3"/>
                  <c:y val="-1.177488570704721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9AD-43BE-A760-B70CD79EA4C7}"/>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ốc độ tăng GRDP</c:v>
                </c:pt>
                <c:pt idx="1">
                  <c:v>Khu vực nông, 
lâm nghiệp 
và thủy sản</c:v>
                </c:pt>
                <c:pt idx="2">
                  <c:v>Khu vực 
công nghiệp
và xây dựng</c:v>
                </c:pt>
                <c:pt idx="3">
                  <c:v>Khu vực
dịch vụ</c:v>
                </c:pt>
                <c:pt idx="4">
                  <c:v>Thuế sản phẩm trừ trợ cấp sản phẩm</c:v>
                </c:pt>
              </c:strCache>
            </c:strRef>
          </c:cat>
          <c:val>
            <c:numRef>
              <c:f>Sheet1!$B$2:$B$6</c:f>
              <c:numCache>
                <c:formatCode>0.00%</c:formatCode>
                <c:ptCount val="5"/>
                <c:pt idx="0">
                  <c:v>6.4600000000000005E-2</c:v>
                </c:pt>
                <c:pt idx="1">
                  <c:v>3.27E-2</c:v>
                </c:pt>
                <c:pt idx="2">
                  <c:v>7.9100000000000004E-2</c:v>
                </c:pt>
                <c:pt idx="3">
                  <c:v>7.7200000000000005E-2</c:v>
                </c:pt>
                <c:pt idx="4">
                  <c:v>4.7500000000000001E-2</c:v>
                </c:pt>
              </c:numCache>
            </c:numRef>
          </c:val>
          <c:extLst>
            <c:ext xmlns:c16="http://schemas.microsoft.com/office/drawing/2014/chart" uri="{C3380CC4-5D6E-409C-BE32-E72D297353CC}">
              <c16:uniqueId val="{00000001-2B34-4844-9157-A5C876EC3F8C}"/>
            </c:ext>
          </c:extLst>
        </c:ser>
        <c:dLbls>
          <c:dLblPos val="outEnd"/>
          <c:showLegendKey val="0"/>
          <c:showVal val="1"/>
          <c:showCatName val="0"/>
          <c:showSerName val="0"/>
          <c:showPercent val="0"/>
          <c:showBubbleSize val="0"/>
        </c:dLbls>
        <c:gapWidth val="219"/>
        <c:overlap val="-27"/>
        <c:axId val="6087040"/>
        <c:axId val="33686272"/>
      </c:barChart>
      <c:catAx>
        <c:axId val="6087040"/>
        <c:scaling>
          <c:orientation val="minMax"/>
        </c:scaling>
        <c:delete val="0"/>
        <c:axPos val="b"/>
        <c:numFmt formatCode="General" sourceLinked="1"/>
        <c:majorTickMark val="none"/>
        <c:minorTickMark val="none"/>
        <c:tickLblPos val="low"/>
        <c:spPr>
          <a:noFill/>
          <a:ln w="9525" cap="flat" cmpd="sng" algn="ctr">
            <a:solidFill>
              <a:srgbClr val="4D312F"/>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vi-VN"/>
          </a:p>
        </c:txPr>
        <c:crossAx val="33686272"/>
        <c:crosses val="autoZero"/>
        <c:auto val="1"/>
        <c:lblAlgn val="ctr"/>
        <c:lblOffset val="100"/>
        <c:noMultiLvlLbl val="0"/>
      </c:catAx>
      <c:valAx>
        <c:axId val="3368627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6087040"/>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accent1"/>
      </a:solidFill>
    </a:ln>
    <a:effectLst/>
    <a:scene3d>
      <a:camera prst="orthographicFront"/>
      <a:lightRig rig="threePt" dir="t"/>
    </a:scene3d>
  </c:spPr>
  <c:txPr>
    <a:bodyPr/>
    <a:lstStyle/>
    <a:p>
      <a:pPr>
        <a:defRPr/>
      </a:pPr>
      <a:endParaRPr lang="vi-V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Tăng truong 6 thang dau nam 2023 63 TỈnh thành phố.xlsx]BTB &amp; DHTB'!$B$10</c:f>
              <c:strCache>
                <c:ptCount val="1"/>
                <c:pt idx="0">
                  <c:v>Tốc độ tăng GRDP</c:v>
                </c:pt>
              </c:strCache>
            </c:strRef>
          </c:tx>
          <c:spPr>
            <a:solidFill>
              <a:schemeClr val="accent1"/>
            </a:solidFill>
            <a:ln>
              <a:noFill/>
            </a:ln>
            <a:effectLst/>
            <a:sp3d/>
          </c:spPr>
          <c:invertIfNegative val="0"/>
          <c:dLbls>
            <c:dLbl>
              <c:idx val="8"/>
              <c:tx>
                <c:rich>
                  <a:bodyPr rot="0" spcFirstLastPara="1" vertOverflow="ellipsis" vert="horz" wrap="square" lIns="38100" tIns="19050" rIns="38100" bIns="19050" anchor="ctr" anchorCtr="1">
                    <a:spAutoFit/>
                  </a:bodyPr>
                  <a:lstStyle/>
                  <a:p>
                    <a:pPr>
                      <a:defRPr sz="1800" b="1" i="0" u="none" strike="noStrike" kern="1200" baseline="0">
                        <a:solidFill>
                          <a:srgbClr val="FF0000"/>
                        </a:solidFill>
                        <a:latin typeface="Times New Roman" panose="02020603050405020304" pitchFamily="18" charset="0"/>
                        <a:ea typeface="+mn-ea"/>
                        <a:cs typeface="Times New Roman" panose="02020603050405020304" pitchFamily="18" charset="0"/>
                      </a:defRPr>
                    </a:pPr>
                    <a:r>
                      <a:rPr lang="en-US">
                        <a:solidFill>
                          <a:srgbClr val="FF0000"/>
                        </a:solidFill>
                        <a:highlight>
                          <a:srgbClr val="FFFF00"/>
                        </a:highlight>
                      </a:rPr>
                      <a:t>6,46</a:t>
                    </a:r>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F6B-429A-9981-8E62DEA8A6E8}"/>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ăng truong 6 thang dau nam 2023 63 TỈnh thành phố.xlsx]BTB &amp; DHTB'!$A$11:$A$65</c:f>
              <c:strCache>
                <c:ptCount val="14"/>
                <c:pt idx="0">
                  <c:v>Ninh Thuận</c:v>
                </c:pt>
                <c:pt idx="1">
                  <c:v>Khánh Hoà</c:v>
                </c:pt>
                <c:pt idx="2">
                  <c:v>Bình Thuận</c:v>
                </c:pt>
                <c:pt idx="3">
                  <c:v>Thanh Hoá</c:v>
                </c:pt>
                <c:pt idx="4">
                  <c:v>Quảng Bình</c:v>
                </c:pt>
                <c:pt idx="5">
                  <c:v>Phú Yên</c:v>
                </c:pt>
                <c:pt idx="6">
                  <c:v>Quảng Trị</c:v>
                </c:pt>
                <c:pt idx="7">
                  <c:v>Thừa Thiên Huế</c:v>
                </c:pt>
                <c:pt idx="8">
                  <c:v>Bình Định</c:v>
                </c:pt>
                <c:pt idx="9">
                  <c:v>Nghệ An</c:v>
                </c:pt>
                <c:pt idx="10">
                  <c:v>Hà Tĩnh</c:v>
                </c:pt>
                <c:pt idx="11">
                  <c:v>Đà Nẵng</c:v>
                </c:pt>
                <c:pt idx="12">
                  <c:v> Quảng Ngãi</c:v>
                </c:pt>
                <c:pt idx="13">
                  <c:v>Quảng Nam</c:v>
                </c:pt>
              </c:strCache>
            </c:strRef>
          </c:cat>
          <c:val>
            <c:numRef>
              <c:f>'[Tăng truong 6 thang dau nam 2023 63 TỈnh thành phố.xlsx]BTB &amp; DHTB'!$B$11:$B$65</c:f>
              <c:numCache>
                <c:formatCode>_-* #,##0.00\ _₫_-;\-* #,##0.00\ _₫_-;_-* "-"??\ _₫_-;_-@_-</c:formatCode>
                <c:ptCount val="14"/>
                <c:pt idx="0">
                  <c:v>7.953054492098957</c:v>
                </c:pt>
                <c:pt idx="1">
                  <c:v>7.8608590658951698</c:v>
                </c:pt>
                <c:pt idx="2">
                  <c:v>7.760155448867593</c:v>
                </c:pt>
                <c:pt idx="3">
                  <c:v>7.0041406398935209</c:v>
                </c:pt>
                <c:pt idx="4">
                  <c:v>6.9041935962405745</c:v>
                </c:pt>
                <c:pt idx="5">
                  <c:v>6.9025419874300837</c:v>
                </c:pt>
                <c:pt idx="6">
                  <c:v>6.5234578362035904</c:v>
                </c:pt>
                <c:pt idx="7">
                  <c:v>6.5053587674916145</c:v>
                </c:pt>
                <c:pt idx="8">
                  <c:v>6.4648035016222138</c:v>
                </c:pt>
                <c:pt idx="9">
                  <c:v>5.7881673690413749</c:v>
                </c:pt>
                <c:pt idx="10">
                  <c:v>5.0153582130973717</c:v>
                </c:pt>
                <c:pt idx="11">
                  <c:v>3.7376653184578004</c:v>
                </c:pt>
                <c:pt idx="12">
                  <c:v>2.6455780375176658</c:v>
                </c:pt>
                <c:pt idx="13">
                  <c:v>-9.1599327880273194</c:v>
                </c:pt>
              </c:numCache>
            </c:numRef>
          </c:val>
          <c:extLst>
            <c:ext xmlns:c16="http://schemas.microsoft.com/office/drawing/2014/chart" uri="{C3380CC4-5D6E-409C-BE32-E72D297353CC}">
              <c16:uniqueId val="{00000000-4F6B-429A-9981-8E62DEA8A6E8}"/>
            </c:ext>
          </c:extLst>
        </c:ser>
        <c:dLbls>
          <c:showLegendKey val="0"/>
          <c:showVal val="1"/>
          <c:showCatName val="0"/>
          <c:showSerName val="0"/>
          <c:showPercent val="0"/>
          <c:showBubbleSize val="0"/>
        </c:dLbls>
        <c:gapWidth val="150"/>
        <c:shape val="box"/>
        <c:axId val="109593728"/>
        <c:axId val="109595264"/>
        <c:axId val="0"/>
      </c:bar3DChart>
      <c:catAx>
        <c:axId val="109593728"/>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vi-VN"/>
          </a:p>
        </c:txPr>
        <c:crossAx val="109595264"/>
        <c:crosses val="autoZero"/>
        <c:auto val="1"/>
        <c:lblAlgn val="ctr"/>
        <c:lblOffset val="100"/>
        <c:noMultiLvlLbl val="0"/>
      </c:catAx>
      <c:valAx>
        <c:axId val="109595264"/>
        <c:scaling>
          <c:orientation val="minMax"/>
        </c:scaling>
        <c:delete val="0"/>
        <c:axPos val="l"/>
        <c:majorGridlines>
          <c:spPr>
            <a:ln w="9525" cap="flat" cmpd="sng" algn="ctr">
              <a:solidFill>
                <a:schemeClr val="tx1">
                  <a:lumMod val="15000"/>
                  <a:lumOff val="85000"/>
                </a:schemeClr>
              </a:solidFill>
              <a:round/>
            </a:ln>
            <a:effectLst/>
          </c:spPr>
        </c:majorGridlines>
        <c:numFmt formatCode="_-* #,##0.00\ _₫_-;\-* #,##0.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09593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2000" b="1"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rPr>
              <a:t>Tốc độ tăng GRDP Vùng Kinh tế trọng điểm miền Trung</a:t>
            </a:r>
          </a:p>
          <a:p>
            <a:pPr>
              <a:defRPr sz="1800" b="0"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2000" b="1"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rPr>
              <a:t>6 tháng năm 2023</a:t>
            </a:r>
            <a:endParaRPr lang="vi-VN" sz="2000" b="0"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endParaRPr>
          </a:p>
        </c:rich>
      </c:tx>
      <c:overlay val="0"/>
      <c:spPr>
        <a:noFill/>
        <a:ln>
          <a:noFill/>
        </a:ln>
        <a:effectLst/>
      </c:sp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Tăng truong 6 thang dau nam 2023 63 TỈnh thành phố.xlsx]Vung KTTD'!$C$2:$C$26</c:f>
              <c:strCache>
                <c:ptCount val="25"/>
                <c:pt idx="0">
                  <c:v>Tốc độ tăng GRDP</c:v>
                </c:pt>
              </c:strCache>
            </c:strRef>
          </c:tx>
          <c:spPr>
            <a:solidFill>
              <a:schemeClr val="accent1"/>
            </a:solidFill>
            <a:ln>
              <a:noFill/>
            </a:ln>
            <a:effectLst/>
            <a:sp3d/>
          </c:spPr>
          <c:invertIfNegative val="0"/>
          <c:dLbls>
            <c:dLbl>
              <c:idx val="0"/>
              <c:layout>
                <c:manualLayout>
                  <c:x val="3.3776649643589857E-3"/>
                  <c:y val="-5.59234731420161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152-48A0-8386-8000BBE61EF5}"/>
                </c:ext>
              </c:extLst>
            </c:dLbl>
            <c:dLbl>
              <c:idx val="1"/>
              <c:layout>
                <c:manualLayout>
                  <c:x val="1.1821827375256388E-2"/>
                  <c:y val="-5.0036791758646067E-2"/>
                </c:manualLayout>
              </c:layout>
              <c:tx>
                <c:rich>
                  <a:bodyPr rot="0" spcFirstLastPara="1" vertOverflow="ellipsis" vert="horz" wrap="square" lIns="38100" tIns="19050" rIns="38100" bIns="19050" anchor="ctr" anchorCtr="1">
                    <a:spAutoFit/>
                  </a:bodyPr>
                  <a:lstStyle/>
                  <a:p>
                    <a:pPr>
                      <a:defRPr sz="2400" b="1" i="0" u="none" strike="noStrike" kern="1200" baseline="0">
                        <a:solidFill>
                          <a:srgbClr val="FF0000"/>
                        </a:solidFill>
                        <a:latin typeface="Times New Roman" panose="02020603050405020304" pitchFamily="18" charset="0"/>
                        <a:ea typeface="+mn-ea"/>
                        <a:cs typeface="Times New Roman" panose="02020603050405020304" pitchFamily="18" charset="0"/>
                      </a:defRPr>
                    </a:pPr>
                    <a:r>
                      <a:rPr lang="en-US">
                        <a:solidFill>
                          <a:srgbClr val="FF0000"/>
                        </a:solidFill>
                        <a:highlight>
                          <a:srgbClr val="FFFF00"/>
                        </a:highlight>
                      </a:rPr>
                      <a:t>6,46</a:t>
                    </a:r>
                    <a:endParaRPr lang="en-US"/>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152-48A0-8386-8000BBE61EF5}"/>
                </c:ext>
              </c:extLst>
            </c:dLbl>
            <c:dLbl>
              <c:idx val="2"/>
              <c:layout>
                <c:manualLayout>
                  <c:x val="1.6888324821794868E-2"/>
                  <c:y val="-2.94334069168506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152-48A0-8386-8000BBE61EF5}"/>
                </c:ext>
              </c:extLst>
            </c:dLbl>
            <c:dLbl>
              <c:idx val="3"/>
              <c:layout>
                <c:manualLayout>
                  <c:x val="1.5199492339615435E-2"/>
                  <c:y val="-4.41501103752759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152-48A0-8386-8000BBE61EF5}"/>
                </c:ext>
              </c:extLst>
            </c:dLbl>
            <c:dLbl>
              <c:idx val="4"/>
              <c:layout>
                <c:manualLayout>
                  <c:x val="1.0132994893076834E-2"/>
                  <c:y val="0.532744665194996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152-48A0-8386-8000BBE61EF5}"/>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ăng truong 6 thang dau nam 2023 63 TỈnh thành phố.xlsx]Vung KTTD'!$B$27:$B$64</c:f>
              <c:strCache>
                <c:ptCount val="5"/>
                <c:pt idx="0">
                  <c:v>Thừa Thiên Huế</c:v>
                </c:pt>
                <c:pt idx="1">
                  <c:v>Bình Định</c:v>
                </c:pt>
                <c:pt idx="2">
                  <c:v>Đà Nẵng</c:v>
                </c:pt>
                <c:pt idx="3">
                  <c:v>Quảng Ngãi</c:v>
                </c:pt>
                <c:pt idx="4">
                  <c:v>Quảng Nam</c:v>
                </c:pt>
              </c:strCache>
            </c:strRef>
          </c:cat>
          <c:val>
            <c:numRef>
              <c:f>'[Tăng truong 6 thang dau nam 2023 63 TỈnh thành phố.xlsx]Vung KTTD'!$C$27:$C$64</c:f>
              <c:numCache>
                <c:formatCode>_-* #,##0.00\ _₫_-;\-* #,##0.00\ _₫_-;_-* "-"??\ _₫_-;_-@_-</c:formatCode>
                <c:ptCount val="5"/>
                <c:pt idx="0">
                  <c:v>6.5053587674916145</c:v>
                </c:pt>
                <c:pt idx="1">
                  <c:v>6.4648035016222138</c:v>
                </c:pt>
                <c:pt idx="2">
                  <c:v>3.7376653184578004</c:v>
                </c:pt>
                <c:pt idx="3">
                  <c:v>2.6455780375176658</c:v>
                </c:pt>
                <c:pt idx="4">
                  <c:v>-9.1599327880273194</c:v>
                </c:pt>
              </c:numCache>
            </c:numRef>
          </c:val>
          <c:extLst>
            <c:ext xmlns:c16="http://schemas.microsoft.com/office/drawing/2014/chart" uri="{C3380CC4-5D6E-409C-BE32-E72D297353CC}">
              <c16:uniqueId val="{00000005-E152-48A0-8386-8000BBE61EF5}"/>
            </c:ext>
          </c:extLst>
        </c:ser>
        <c:dLbls>
          <c:showLegendKey val="0"/>
          <c:showVal val="1"/>
          <c:showCatName val="0"/>
          <c:showSerName val="0"/>
          <c:showPercent val="0"/>
          <c:showBubbleSize val="0"/>
        </c:dLbls>
        <c:gapWidth val="150"/>
        <c:shape val="box"/>
        <c:axId val="109629824"/>
        <c:axId val="109631360"/>
        <c:axId val="0"/>
      </c:bar3DChart>
      <c:catAx>
        <c:axId val="10962982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vi-VN"/>
          </a:p>
        </c:txPr>
        <c:crossAx val="109631360"/>
        <c:crosses val="autoZero"/>
        <c:auto val="1"/>
        <c:lblAlgn val="ctr"/>
        <c:lblOffset val="100"/>
        <c:noMultiLvlLbl val="0"/>
      </c:catAx>
      <c:valAx>
        <c:axId val="109631360"/>
        <c:scaling>
          <c:orientation val="minMax"/>
        </c:scaling>
        <c:delete val="0"/>
        <c:axPos val="l"/>
        <c:majorGridlines>
          <c:spPr>
            <a:ln w="9525" cap="flat" cmpd="sng" algn="ctr">
              <a:solidFill>
                <a:schemeClr val="tx1">
                  <a:lumMod val="15000"/>
                  <a:lumOff val="85000"/>
                </a:schemeClr>
              </a:solidFill>
              <a:round/>
            </a:ln>
            <a:effectLst/>
          </c:spPr>
        </c:majorGridlines>
        <c:numFmt formatCode="_-* #,##0.00\ _₫_-;\-* #,##0.0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09629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5.4919140574549346E-3"/>
                  <c:y val="-7.310227641639960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4DD-482D-9EC8-5469531F22BD}"/>
                </c:ext>
              </c:extLst>
            </c:dLbl>
            <c:dLbl>
              <c:idx val="1"/>
              <c:layout>
                <c:manualLayout>
                  <c:x val="7.3225520766065791E-3"/>
                  <c:y val="-2.924091056655997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3.6612760383033234E-3"/>
                  <c:y val="-6.944716259557978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1.8306380191516448E-3"/>
                  <c:y val="-4.386136584983988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vi-VN"/>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7.59</c:v>
                </c:pt>
                <c:pt idx="1">
                  <c:v>28.94</c:v>
                </c:pt>
                <c:pt idx="2">
                  <c:v>39.25</c:v>
                </c:pt>
                <c:pt idx="3">
                  <c:v>4.22</c:v>
                </c:pt>
              </c:numCache>
            </c:numRef>
          </c:val>
          <c:extLst>
            <c:ext xmlns:c16="http://schemas.microsoft.com/office/drawing/2014/chart" uri="{C3380CC4-5D6E-409C-BE32-E72D297353CC}">
              <c16:uniqueId val="{0000000A-54DD-482D-9EC8-5469531F22BD}"/>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vi-VN"/>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5.4919140574549346E-3"/>
                  <c:y val="-7.310227641639960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7.3225520766065791E-3"/>
                  <c:y val="-2.924091056655997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3.6612760383033234E-3"/>
                  <c:y val="-6.944716259557978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1.8306380191516448E-3"/>
                  <c:y val="-4.386136584983988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vi-VN"/>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8.15</c:v>
                </c:pt>
                <c:pt idx="1">
                  <c:v>28.99</c:v>
                </c:pt>
                <c:pt idx="2">
                  <c:v>38.57</c:v>
                </c:pt>
                <c:pt idx="3">
                  <c:v>4.29</c:v>
                </c:pt>
              </c:numCache>
            </c:numRef>
          </c:val>
          <c:extLst>
            <c:ext xmlns:c16="http://schemas.microsoft.com/office/drawing/2014/chart" uri="{C3380CC4-5D6E-409C-BE32-E72D297353CC}">
              <c16:uniqueId val="{0000000A-5882-4EC4-B4A4-59F7188ED3D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vi-VN"/>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TK - GRDP HHSS uoc tinh TGTSP 6th 2023 gui huyen.xlsx]GTSP SS'!$C$19:$C$79</c:f>
              <c:strCache>
                <c:ptCount val="11"/>
                <c:pt idx="0">
                  <c:v>Thị xã Hoài Nhơn</c:v>
                </c:pt>
                <c:pt idx="1">
                  <c:v>Huyện Vân Canh</c:v>
                </c:pt>
                <c:pt idx="2">
                  <c:v>Thị xã An Nhơn</c:v>
                </c:pt>
                <c:pt idx="3">
                  <c:v>Huyện Tây Sơn</c:v>
                </c:pt>
                <c:pt idx="4">
                  <c:v>Huyện An Lão</c:v>
                </c:pt>
                <c:pt idx="5">
                  <c:v>Huyện Hoài Ân</c:v>
                </c:pt>
                <c:pt idx="6">
                  <c:v>Huyện Phù Cát</c:v>
                </c:pt>
                <c:pt idx="7">
                  <c:v>Huyện Vĩnh Thạnh</c:v>
                </c:pt>
                <c:pt idx="8">
                  <c:v>TP Quy Nhơn</c:v>
                </c:pt>
                <c:pt idx="9">
                  <c:v>Huyện Phù Mỹ</c:v>
                </c:pt>
                <c:pt idx="10">
                  <c:v>Huyện Tuy Phước</c:v>
                </c:pt>
              </c:strCache>
            </c:strRef>
          </c:cat>
          <c:val>
            <c:numRef>
              <c:f>'[CTK - GRDP HHSS uoc tinh TGTSP 6th 2023 gui huyen.xlsx]GTSP SS'!$D$19:$D$79</c:f>
              <c:numCache>
                <c:formatCode>0.00</c:formatCode>
                <c:ptCount val="11"/>
                <c:pt idx="0">
                  <c:v>8.4115505227109395</c:v>
                </c:pt>
                <c:pt idx="1">
                  <c:v>8.3699042199593094</c:v>
                </c:pt>
                <c:pt idx="2">
                  <c:v>7.8276347225775709</c:v>
                </c:pt>
                <c:pt idx="3">
                  <c:v>7.7691546297837419</c:v>
                </c:pt>
                <c:pt idx="4">
                  <c:v>7.6500308448427887</c:v>
                </c:pt>
                <c:pt idx="5">
                  <c:v>7.3466248978778737</c:v>
                </c:pt>
                <c:pt idx="6">
                  <c:v>6.8969629365370508</c:v>
                </c:pt>
                <c:pt idx="7">
                  <c:v>6.7068898891693181</c:v>
                </c:pt>
                <c:pt idx="8">
                  <c:v>5.3132144620001327</c:v>
                </c:pt>
                <c:pt idx="9">
                  <c:v>5.0817973332093658</c:v>
                </c:pt>
                <c:pt idx="10">
                  <c:v>5.0709107155318804</c:v>
                </c:pt>
              </c:numCache>
            </c:numRef>
          </c:val>
          <c:extLst>
            <c:ext xmlns:c16="http://schemas.microsoft.com/office/drawing/2014/chart" uri="{C3380CC4-5D6E-409C-BE32-E72D297353CC}">
              <c16:uniqueId val="{00000000-C63C-458A-934A-2FD0AA0B6CE5}"/>
            </c:ext>
          </c:extLst>
        </c:ser>
        <c:dLbls>
          <c:dLblPos val="outEnd"/>
          <c:showLegendKey val="0"/>
          <c:showVal val="1"/>
          <c:showCatName val="0"/>
          <c:showSerName val="0"/>
          <c:showPercent val="0"/>
          <c:showBubbleSize val="0"/>
        </c:dLbls>
        <c:gapWidth val="219"/>
        <c:overlap val="-27"/>
        <c:axId val="109375488"/>
        <c:axId val="109378176"/>
      </c:barChart>
      <c:catAx>
        <c:axId val="10937548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vi-VN"/>
          </a:p>
        </c:txPr>
        <c:crossAx val="109378176"/>
        <c:crosses val="autoZero"/>
        <c:auto val="1"/>
        <c:lblAlgn val="ctr"/>
        <c:lblOffset val="100"/>
        <c:noMultiLvlLbl val="0"/>
      </c:catAx>
      <c:valAx>
        <c:axId val="109378176"/>
        <c:scaling>
          <c:orientation val="minMax"/>
        </c:scaling>
        <c:delete val="1"/>
        <c:axPos val="l"/>
        <c:numFmt formatCode="0.00" sourceLinked="1"/>
        <c:majorTickMark val="out"/>
        <c:minorTickMark val="none"/>
        <c:tickLblPos val="nextTo"/>
        <c:crossAx val="109375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spPr>
              <a:solidFill>
                <a:schemeClr val="lt1">
                  <a:alpha val="75000"/>
                </a:schemeClr>
              </a:solidFill>
              <a:ln w="9525">
                <a:solidFill>
                  <a:schemeClr val="dk1">
                    <a:lumMod val="25000"/>
                    <a:lumOff val="75000"/>
                  </a:scheme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vi-VN"/>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TK - GRDP HHSS uoc tinh TGTSP 6th 2023 gui huyen.xlsx]Thứ hạng quy mô'!$B$11:$B$21</c:f>
              <c:strCache>
                <c:ptCount val="11"/>
                <c:pt idx="0">
                  <c:v>TP Quy Nhơn</c:v>
                </c:pt>
                <c:pt idx="1">
                  <c:v>Thị xã An Nhơn</c:v>
                </c:pt>
                <c:pt idx="2">
                  <c:v>Thị xã Hoài Nhơn</c:v>
                </c:pt>
                <c:pt idx="3">
                  <c:v>Huyện Phù Cát</c:v>
                </c:pt>
                <c:pt idx="4">
                  <c:v>Huyện Phù Mỹ</c:v>
                </c:pt>
                <c:pt idx="5">
                  <c:v>Huyện Tuy Phước</c:v>
                </c:pt>
                <c:pt idx="6">
                  <c:v>Huyện Tây Sơn</c:v>
                </c:pt>
                <c:pt idx="7">
                  <c:v>Huyện Hoài Ân</c:v>
                </c:pt>
                <c:pt idx="8">
                  <c:v>Huyện Vân Canh</c:v>
                </c:pt>
                <c:pt idx="9">
                  <c:v>Huyện Vĩnh Thạnh</c:v>
                </c:pt>
                <c:pt idx="10">
                  <c:v>Huyện An Lão</c:v>
                </c:pt>
              </c:strCache>
            </c:strRef>
          </c:cat>
          <c:val>
            <c:numRef>
              <c:f>'[CTK - GRDP HHSS uoc tinh TGTSP 6th 2023 gui huyen.xlsx]Thứ hạng quy mô'!$C$11:$C$21</c:f>
            </c:numRef>
          </c:val>
          <c:extLst>
            <c:ext xmlns:c16="http://schemas.microsoft.com/office/drawing/2014/chart" uri="{C3380CC4-5D6E-409C-BE32-E72D297353CC}">
              <c16:uniqueId val="{00000000-DDE6-49B9-8D27-9785A4DA8C69}"/>
            </c:ext>
          </c:extLst>
        </c:ser>
        <c:ser>
          <c:idx val="1"/>
          <c:order val="1"/>
          <c:dPt>
            <c:idx val="0"/>
            <c:bubble3D val="0"/>
            <c:spPr>
              <a:gradFill>
                <a:gsLst>
                  <a:gs pos="100000">
                    <a:schemeClr val="accent1">
                      <a:lumMod val="60000"/>
                      <a:lumOff val="40000"/>
                    </a:schemeClr>
                  </a:gs>
                  <a:gs pos="0">
                    <a:schemeClr val="accent1"/>
                  </a:gs>
                </a:gsLst>
                <a:lin ang="5400000" scaled="0"/>
              </a:gradFill>
              <a:ln w="19050">
                <a:solidFill>
                  <a:schemeClr val="lt1"/>
                </a:solidFill>
              </a:ln>
              <a:effectLst/>
            </c:spPr>
            <c:extLst>
              <c:ext xmlns:c16="http://schemas.microsoft.com/office/drawing/2014/chart" uri="{C3380CC4-5D6E-409C-BE32-E72D297353CC}">
                <c16:uniqueId val="{00000002-DDE6-49B9-8D27-9785A4DA8C69}"/>
              </c:ext>
            </c:extLst>
          </c:dPt>
          <c:dPt>
            <c:idx val="1"/>
            <c:bubble3D val="0"/>
            <c:spPr>
              <a:gradFill>
                <a:gsLst>
                  <a:gs pos="100000">
                    <a:schemeClr val="accent2">
                      <a:lumMod val="60000"/>
                      <a:lumOff val="40000"/>
                    </a:schemeClr>
                  </a:gs>
                  <a:gs pos="0">
                    <a:schemeClr val="accent2"/>
                  </a:gs>
                </a:gsLst>
                <a:lin ang="5400000" scaled="0"/>
              </a:gradFill>
              <a:ln w="19050">
                <a:solidFill>
                  <a:schemeClr val="lt1"/>
                </a:solidFill>
              </a:ln>
              <a:effectLst/>
            </c:spPr>
            <c:extLst>
              <c:ext xmlns:c16="http://schemas.microsoft.com/office/drawing/2014/chart" uri="{C3380CC4-5D6E-409C-BE32-E72D297353CC}">
                <c16:uniqueId val="{00000004-DDE6-49B9-8D27-9785A4DA8C69}"/>
              </c:ext>
            </c:extLst>
          </c:dPt>
          <c:dPt>
            <c:idx val="2"/>
            <c:bubble3D val="0"/>
            <c:spPr>
              <a:gradFill>
                <a:gsLst>
                  <a:gs pos="100000">
                    <a:schemeClr val="accent3">
                      <a:lumMod val="60000"/>
                      <a:lumOff val="40000"/>
                    </a:schemeClr>
                  </a:gs>
                  <a:gs pos="0">
                    <a:schemeClr val="accent3"/>
                  </a:gs>
                </a:gsLst>
                <a:lin ang="5400000" scaled="0"/>
              </a:gradFill>
              <a:ln w="19050">
                <a:solidFill>
                  <a:schemeClr val="lt1"/>
                </a:solidFill>
              </a:ln>
              <a:effectLst/>
            </c:spPr>
            <c:extLst>
              <c:ext xmlns:c16="http://schemas.microsoft.com/office/drawing/2014/chart" uri="{C3380CC4-5D6E-409C-BE32-E72D297353CC}">
                <c16:uniqueId val="{00000006-DDE6-49B9-8D27-9785A4DA8C69}"/>
              </c:ext>
            </c:extLst>
          </c:dPt>
          <c:dPt>
            <c:idx val="3"/>
            <c:bubble3D val="0"/>
            <c:spPr>
              <a:gradFill>
                <a:gsLst>
                  <a:gs pos="100000">
                    <a:schemeClr val="accent4">
                      <a:lumMod val="60000"/>
                      <a:lumOff val="40000"/>
                    </a:schemeClr>
                  </a:gs>
                  <a:gs pos="0">
                    <a:schemeClr val="accent4"/>
                  </a:gs>
                </a:gsLst>
                <a:lin ang="5400000" scaled="0"/>
              </a:gradFill>
              <a:ln w="19050">
                <a:solidFill>
                  <a:schemeClr val="lt1"/>
                </a:solidFill>
              </a:ln>
              <a:effectLst/>
            </c:spPr>
            <c:extLst>
              <c:ext xmlns:c16="http://schemas.microsoft.com/office/drawing/2014/chart" uri="{C3380CC4-5D6E-409C-BE32-E72D297353CC}">
                <c16:uniqueId val="{00000008-DDE6-49B9-8D27-9785A4DA8C69}"/>
              </c:ext>
            </c:extLst>
          </c:dPt>
          <c:dPt>
            <c:idx val="4"/>
            <c:bubble3D val="0"/>
            <c:spPr>
              <a:gradFill>
                <a:gsLst>
                  <a:gs pos="100000">
                    <a:schemeClr val="accent5">
                      <a:lumMod val="60000"/>
                      <a:lumOff val="40000"/>
                    </a:schemeClr>
                  </a:gs>
                  <a:gs pos="0">
                    <a:schemeClr val="accent5"/>
                  </a:gs>
                </a:gsLst>
                <a:lin ang="5400000" scaled="0"/>
              </a:gradFill>
              <a:ln w="19050">
                <a:solidFill>
                  <a:schemeClr val="lt1"/>
                </a:solidFill>
              </a:ln>
              <a:effectLst/>
            </c:spPr>
            <c:extLst>
              <c:ext xmlns:c16="http://schemas.microsoft.com/office/drawing/2014/chart" uri="{C3380CC4-5D6E-409C-BE32-E72D297353CC}">
                <c16:uniqueId val="{0000000A-DDE6-49B9-8D27-9785A4DA8C69}"/>
              </c:ext>
            </c:extLst>
          </c:dPt>
          <c:dPt>
            <c:idx val="5"/>
            <c:bubble3D val="0"/>
            <c:spPr>
              <a:gradFill>
                <a:gsLst>
                  <a:gs pos="100000">
                    <a:schemeClr val="accent6">
                      <a:lumMod val="60000"/>
                      <a:lumOff val="40000"/>
                    </a:schemeClr>
                  </a:gs>
                  <a:gs pos="0">
                    <a:schemeClr val="accent6"/>
                  </a:gs>
                </a:gsLst>
                <a:lin ang="5400000" scaled="0"/>
              </a:gradFill>
              <a:ln w="19050">
                <a:solidFill>
                  <a:schemeClr val="lt1"/>
                </a:solidFill>
              </a:ln>
              <a:effectLst/>
            </c:spPr>
            <c:extLst>
              <c:ext xmlns:c16="http://schemas.microsoft.com/office/drawing/2014/chart" uri="{C3380CC4-5D6E-409C-BE32-E72D297353CC}">
                <c16:uniqueId val="{0000000C-DDE6-49B9-8D27-9785A4DA8C69}"/>
              </c:ext>
            </c:extLst>
          </c:dPt>
          <c:dPt>
            <c:idx val="6"/>
            <c:bubble3D val="0"/>
            <c:spPr>
              <a:gradFill>
                <a:gsLst>
                  <a:gs pos="100000">
                    <a:schemeClr val="accent1">
                      <a:lumMod val="60000"/>
                      <a:lumMod val="60000"/>
                      <a:lumOff val="40000"/>
                    </a:schemeClr>
                  </a:gs>
                  <a:gs pos="0">
                    <a:schemeClr val="accent1">
                      <a:lumMod val="60000"/>
                    </a:schemeClr>
                  </a:gs>
                </a:gsLst>
                <a:lin ang="5400000" scaled="0"/>
              </a:gradFill>
              <a:ln w="19050">
                <a:solidFill>
                  <a:schemeClr val="lt1"/>
                </a:solidFill>
              </a:ln>
              <a:effectLst/>
            </c:spPr>
            <c:extLst>
              <c:ext xmlns:c16="http://schemas.microsoft.com/office/drawing/2014/chart" uri="{C3380CC4-5D6E-409C-BE32-E72D297353CC}">
                <c16:uniqueId val="{0000000E-DDE6-49B9-8D27-9785A4DA8C69}"/>
              </c:ext>
            </c:extLst>
          </c:dPt>
          <c:dPt>
            <c:idx val="7"/>
            <c:bubble3D val="0"/>
            <c:spPr>
              <a:gradFill>
                <a:gsLst>
                  <a:gs pos="100000">
                    <a:schemeClr val="accent2">
                      <a:lumMod val="60000"/>
                      <a:lumMod val="60000"/>
                      <a:lumOff val="40000"/>
                    </a:schemeClr>
                  </a:gs>
                  <a:gs pos="0">
                    <a:schemeClr val="accent2">
                      <a:lumMod val="60000"/>
                    </a:schemeClr>
                  </a:gs>
                </a:gsLst>
                <a:lin ang="5400000" scaled="0"/>
              </a:gradFill>
              <a:ln w="19050">
                <a:solidFill>
                  <a:schemeClr val="lt1"/>
                </a:solidFill>
              </a:ln>
              <a:effectLst/>
            </c:spPr>
            <c:extLst>
              <c:ext xmlns:c16="http://schemas.microsoft.com/office/drawing/2014/chart" uri="{C3380CC4-5D6E-409C-BE32-E72D297353CC}">
                <c16:uniqueId val="{00000010-DDE6-49B9-8D27-9785A4DA8C69}"/>
              </c:ext>
            </c:extLst>
          </c:dPt>
          <c:dPt>
            <c:idx val="8"/>
            <c:bubble3D val="0"/>
            <c:spPr>
              <a:gradFill>
                <a:gsLst>
                  <a:gs pos="100000">
                    <a:schemeClr val="accent3">
                      <a:lumMod val="60000"/>
                      <a:lumMod val="60000"/>
                      <a:lumOff val="40000"/>
                    </a:schemeClr>
                  </a:gs>
                  <a:gs pos="0">
                    <a:schemeClr val="accent3">
                      <a:lumMod val="60000"/>
                    </a:schemeClr>
                  </a:gs>
                </a:gsLst>
                <a:lin ang="5400000" scaled="0"/>
              </a:gradFill>
              <a:ln w="19050">
                <a:solidFill>
                  <a:schemeClr val="lt1"/>
                </a:solidFill>
              </a:ln>
              <a:effectLst/>
            </c:spPr>
            <c:extLst>
              <c:ext xmlns:c16="http://schemas.microsoft.com/office/drawing/2014/chart" uri="{C3380CC4-5D6E-409C-BE32-E72D297353CC}">
                <c16:uniqueId val="{00000012-DDE6-49B9-8D27-9785A4DA8C69}"/>
              </c:ext>
            </c:extLst>
          </c:dPt>
          <c:dPt>
            <c:idx val="9"/>
            <c:bubble3D val="0"/>
            <c:spPr>
              <a:gradFill>
                <a:gsLst>
                  <a:gs pos="100000">
                    <a:schemeClr val="accent4">
                      <a:lumMod val="60000"/>
                      <a:lumMod val="60000"/>
                      <a:lumOff val="40000"/>
                    </a:schemeClr>
                  </a:gs>
                  <a:gs pos="0">
                    <a:schemeClr val="accent4">
                      <a:lumMod val="60000"/>
                    </a:schemeClr>
                  </a:gs>
                </a:gsLst>
                <a:lin ang="5400000" scaled="0"/>
              </a:gradFill>
              <a:ln w="19050">
                <a:solidFill>
                  <a:schemeClr val="lt1"/>
                </a:solidFill>
              </a:ln>
              <a:effectLst/>
            </c:spPr>
            <c:extLst>
              <c:ext xmlns:c16="http://schemas.microsoft.com/office/drawing/2014/chart" uri="{C3380CC4-5D6E-409C-BE32-E72D297353CC}">
                <c16:uniqueId val="{00000014-DDE6-49B9-8D27-9785A4DA8C69}"/>
              </c:ext>
            </c:extLst>
          </c:dPt>
          <c:dPt>
            <c:idx val="10"/>
            <c:bubble3D val="0"/>
            <c:spPr>
              <a:gradFill>
                <a:gsLst>
                  <a:gs pos="100000">
                    <a:schemeClr val="accent5">
                      <a:lumMod val="60000"/>
                      <a:lumMod val="60000"/>
                      <a:lumOff val="40000"/>
                    </a:schemeClr>
                  </a:gs>
                  <a:gs pos="0">
                    <a:schemeClr val="accent5">
                      <a:lumMod val="60000"/>
                    </a:schemeClr>
                  </a:gs>
                </a:gsLst>
                <a:lin ang="5400000" scaled="0"/>
              </a:gradFill>
              <a:ln w="19050">
                <a:solidFill>
                  <a:schemeClr val="lt1"/>
                </a:solidFill>
              </a:ln>
              <a:effectLst/>
            </c:spPr>
            <c:extLst>
              <c:ext xmlns:c16="http://schemas.microsoft.com/office/drawing/2014/chart" uri="{C3380CC4-5D6E-409C-BE32-E72D297353CC}">
                <c16:uniqueId val="{00000016-DDE6-49B9-8D27-9785A4DA8C69}"/>
              </c:ext>
            </c:extLst>
          </c:dPt>
          <c:dLbls>
            <c:dLbl>
              <c:idx val="5"/>
              <c:layout>
                <c:manualLayout>
                  <c:x val="0"/>
                  <c:y val="2.826249023180887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DDE6-49B9-8D27-9785A4DA8C69}"/>
                </c:ext>
              </c:extLst>
            </c:dLbl>
            <c:dLbl>
              <c:idx val="6"/>
              <c:layout>
                <c:manualLayout>
                  <c:x val="-7.370674960214417E-2"/>
                  <c:y val="5.455174166954111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DDE6-49B9-8D27-9785A4DA8C69}"/>
                </c:ext>
              </c:extLst>
            </c:dLbl>
            <c:dLbl>
              <c:idx val="7"/>
              <c:layout>
                <c:manualLayout>
                  <c:x val="-2.493402584899318E-2"/>
                  <c:y val="2.1740377101391469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0-DDE6-49B9-8D27-9785A4DA8C69}"/>
                </c:ext>
              </c:extLst>
            </c:dLbl>
            <c:dLbl>
              <c:idx val="8"/>
              <c:layout>
                <c:manualLayout>
                  <c:x val="6.9456562063383437E-2"/>
                  <c:y val="2.1740377101391469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2-DDE6-49B9-8D27-9785A4DA8C69}"/>
                </c:ext>
              </c:extLst>
            </c:dLbl>
            <c:dLbl>
              <c:idx val="9"/>
              <c:layout>
                <c:manualLayout>
                  <c:x val="0.30417413547922378"/>
                  <c:y val="4.3480754202782938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4-DDE6-49B9-8D27-9785A4DA8C69}"/>
                </c:ext>
              </c:extLst>
            </c:dLbl>
            <c:dLbl>
              <c:idx val="10"/>
              <c:layout>
                <c:manualLayout>
                  <c:x val="0.33789141233660391"/>
                  <c:y val="0.1226381519652359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6-DDE6-49B9-8D27-9785A4DA8C69}"/>
                </c:ext>
              </c:extLst>
            </c:dLbl>
            <c:spPr>
              <a:solidFill>
                <a:sysClr val="window" lastClr="FFFFFF">
                  <a:alpha val="75000"/>
                </a:sysClr>
              </a:solidFill>
              <a:ln w="9525">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1800" b="0" i="0" u="none" strike="noStrike" kern="1200" baseline="0">
                    <a:solidFill>
                      <a:schemeClr val="dk1">
                        <a:lumMod val="65000"/>
                        <a:lumOff val="35000"/>
                      </a:schemeClr>
                    </a:solidFill>
                    <a:latin typeface="+mn-lt"/>
                    <a:ea typeface="+mn-ea"/>
                    <a:cs typeface="+mn-cs"/>
                  </a:defRPr>
                </a:pPr>
                <a:endParaRPr lang="vi-VN"/>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CTK - GRDP HHSS uoc tinh TGTSP 6th 2023 gui huyen.xlsx]Thứ hạng quy mô'!$B$11:$B$21</c:f>
              <c:strCache>
                <c:ptCount val="11"/>
                <c:pt idx="0">
                  <c:v>TP Quy Nhơn</c:v>
                </c:pt>
                <c:pt idx="1">
                  <c:v>Thị xã An Nhơn</c:v>
                </c:pt>
                <c:pt idx="2">
                  <c:v>Thị xã Hoài Nhơn</c:v>
                </c:pt>
                <c:pt idx="3">
                  <c:v>Huyện Phù Cát</c:v>
                </c:pt>
                <c:pt idx="4">
                  <c:v>Huyện Phù Mỹ</c:v>
                </c:pt>
                <c:pt idx="5">
                  <c:v>Huyện Tuy Phước</c:v>
                </c:pt>
                <c:pt idx="6">
                  <c:v>Huyện Tây Sơn</c:v>
                </c:pt>
                <c:pt idx="7">
                  <c:v>Huyện Hoài Ân</c:v>
                </c:pt>
                <c:pt idx="8">
                  <c:v>Huyện Vân Canh</c:v>
                </c:pt>
                <c:pt idx="9">
                  <c:v>Huyện Vĩnh Thạnh</c:v>
                </c:pt>
                <c:pt idx="10">
                  <c:v>Huyện An Lão</c:v>
                </c:pt>
              </c:strCache>
            </c:strRef>
          </c:cat>
          <c:val>
            <c:numRef>
              <c:f>'[CTK - GRDP HHSS uoc tinh TGTSP 6th 2023 gui huyen.xlsx]Thứ hạng quy mô'!$D$11:$D$21</c:f>
              <c:numCache>
                <c:formatCode>#,##0.00_);\(#,##0.00\)</c:formatCode>
                <c:ptCount val="11"/>
                <c:pt idx="0">
                  <c:v>37.200000000000003</c:v>
                </c:pt>
                <c:pt idx="1">
                  <c:v>14.43</c:v>
                </c:pt>
                <c:pt idx="2">
                  <c:v>10.67</c:v>
                </c:pt>
                <c:pt idx="3">
                  <c:v>9.34</c:v>
                </c:pt>
                <c:pt idx="4">
                  <c:v>8.19</c:v>
                </c:pt>
                <c:pt idx="5">
                  <c:v>7.82</c:v>
                </c:pt>
                <c:pt idx="6">
                  <c:v>4.6500000000000004</c:v>
                </c:pt>
                <c:pt idx="7">
                  <c:v>3.49</c:v>
                </c:pt>
                <c:pt idx="8">
                  <c:v>1.95</c:v>
                </c:pt>
                <c:pt idx="9">
                  <c:v>1.64</c:v>
                </c:pt>
                <c:pt idx="10">
                  <c:v>0.62</c:v>
                </c:pt>
              </c:numCache>
            </c:numRef>
          </c:val>
          <c:extLst>
            <c:ext xmlns:c16="http://schemas.microsoft.com/office/drawing/2014/chart" uri="{C3380CC4-5D6E-409C-BE32-E72D297353CC}">
              <c16:uniqueId val="{00000017-DDE6-49B9-8D27-9785A4DA8C69}"/>
            </c:ext>
          </c:extLst>
        </c:ser>
        <c:dLbls>
          <c:showLegendKey val="0"/>
          <c:showVal val="0"/>
          <c:showCatName val="0"/>
          <c:showSerName val="0"/>
          <c:showPercent val="0"/>
          <c:showBubbleSize val="0"/>
          <c:showLeaderLines val="0"/>
        </c:dLbls>
        <c:firstSliceAng val="0"/>
      </c:pieChart>
      <c:spPr>
        <a:noFill/>
        <a:ln>
          <a:noFill/>
        </a:ln>
        <a:effectLst/>
      </c:spPr>
    </c:plotArea>
    <c:legend>
      <c:legendPos val="r"/>
      <c:overlay val="0"/>
      <c:spPr>
        <a:solidFill>
          <a:schemeClr val="lt1">
            <a:alpha val="50000"/>
          </a:schemeClr>
        </a:solidFill>
        <a:ln>
          <a:noFill/>
        </a:ln>
        <a:effectLst/>
      </c:spPr>
      <c:txPr>
        <a:bodyPr rot="0" spcFirstLastPara="1" vertOverflow="ellipsis" vert="horz" wrap="square" anchor="ctr" anchorCtr="1"/>
        <a:lstStyle/>
        <a:p>
          <a:pPr>
            <a:defRPr sz="1400" b="0" i="0" u="none" strike="noStrike" kern="1200" baseline="0">
              <a:solidFill>
                <a:schemeClr val="dk1">
                  <a:lumMod val="65000"/>
                  <a:lumOff val="35000"/>
                </a:schemeClr>
              </a:solidFill>
              <a:latin typeface="+mn-lt"/>
              <a:ea typeface="+mn-ea"/>
              <a:cs typeface="+mn-cs"/>
            </a:defRPr>
          </a:pPr>
          <a:endParaRPr lang="vi-V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fgClr>
      <a:bgClr>
        <a:schemeClr val="dk1">
          <a:lumMod val="10000"/>
          <a:lumOff val="90000"/>
        </a:schemeClr>
      </a:bgClr>
    </a:pattFill>
    <a:ln w="9525" cap="flat" cmpd="sng" algn="ctr">
      <a:solidFill>
        <a:schemeClr val="dk1">
          <a:lumMod val="15000"/>
          <a:lumOff val="85000"/>
        </a:schemeClr>
      </a:solidFill>
      <a:round/>
    </a:ln>
    <a:effectLst/>
  </c:spPr>
  <c:txPr>
    <a:bodyPr/>
    <a:lstStyle/>
    <a:p>
      <a:pPr>
        <a:defRPr/>
      </a:pPr>
      <a:endParaRPr lang="vi-VN"/>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000099"/>
                </a:solidFill>
                <a:latin typeface="+mn-lt"/>
                <a:ea typeface="+mn-ea"/>
                <a:cs typeface="+mn-cs"/>
              </a:defRPr>
            </a:pPr>
            <a:r>
              <a:rPr lang="vi-VN" b="1" dirty="0">
                <a:solidFill>
                  <a:srgbClr val="000099"/>
                </a:solidFill>
              </a:rPr>
              <a:t>Từ</a:t>
            </a:r>
            <a:r>
              <a:rPr lang="vi-VN" b="1" baseline="0" dirty="0">
                <a:solidFill>
                  <a:srgbClr val="000099"/>
                </a:solidFill>
              </a:rPr>
              <a:t> ngày 01/01/2023 đến 12/6/2023</a:t>
            </a:r>
            <a:endParaRPr lang="vi-VN" b="1" dirty="0">
              <a:solidFill>
                <a:srgbClr val="000099"/>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000099"/>
              </a:solidFill>
              <a:latin typeface="+mn-lt"/>
              <a:ea typeface="+mn-ea"/>
              <a:cs typeface="+mn-cs"/>
            </a:defRPr>
          </a:pPr>
          <a:endParaRPr lang="vi-VN"/>
        </a:p>
      </c:txPr>
    </c:title>
    <c:autoTitleDeleted val="0"/>
    <c:plotArea>
      <c:layout/>
      <c:barChart>
        <c:barDir val="col"/>
        <c:grouping val="clustered"/>
        <c:varyColors val="0"/>
        <c:ser>
          <c:idx val="0"/>
          <c:order val="0"/>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C$13:$C$19</c:f>
            </c:numRef>
          </c:val>
          <c:extLst>
            <c:ext xmlns:c16="http://schemas.microsoft.com/office/drawing/2014/chart" uri="{C3380CC4-5D6E-409C-BE32-E72D297353CC}">
              <c16:uniqueId val="{00000000-56ED-4E38-8DD9-A0761209D3E8}"/>
            </c:ext>
          </c:extLst>
        </c:ser>
        <c:ser>
          <c:idx val="1"/>
          <c:order val="1"/>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D$13:$D$19</c:f>
            </c:numRef>
          </c:val>
          <c:extLst>
            <c:ext xmlns:c16="http://schemas.microsoft.com/office/drawing/2014/chart" uri="{C3380CC4-5D6E-409C-BE32-E72D297353CC}">
              <c16:uniqueId val="{00000001-56ED-4E38-8DD9-A0761209D3E8}"/>
            </c:ext>
          </c:extLst>
        </c:ser>
        <c:ser>
          <c:idx val="2"/>
          <c:order val="2"/>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E$13:$E$19</c:f>
            </c:numRef>
          </c:val>
          <c:extLst>
            <c:ext xmlns:c16="http://schemas.microsoft.com/office/drawing/2014/chart" uri="{C3380CC4-5D6E-409C-BE32-E72D297353CC}">
              <c16:uniqueId val="{00000002-56ED-4E38-8DD9-A0761209D3E8}"/>
            </c:ext>
          </c:extLst>
        </c:ser>
        <c:ser>
          <c:idx val="3"/>
          <c:order val="3"/>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F$13:$F$19</c:f>
            </c:numRef>
          </c:val>
          <c:extLst>
            <c:ext xmlns:c16="http://schemas.microsoft.com/office/drawing/2014/chart" uri="{C3380CC4-5D6E-409C-BE32-E72D297353CC}">
              <c16:uniqueId val="{00000003-56ED-4E38-8DD9-A0761209D3E8}"/>
            </c:ext>
          </c:extLst>
        </c:ser>
        <c:ser>
          <c:idx val="4"/>
          <c:order val="4"/>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G$13:$G$19</c:f>
            </c:numRef>
          </c:val>
          <c:extLst>
            <c:ext xmlns:c16="http://schemas.microsoft.com/office/drawing/2014/chart" uri="{C3380CC4-5D6E-409C-BE32-E72D297353CC}">
              <c16:uniqueId val="{00000004-56ED-4E38-8DD9-A0761209D3E8}"/>
            </c:ext>
          </c:extLst>
        </c:ser>
        <c:ser>
          <c:idx val="5"/>
          <c:order val="5"/>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H$13:$H$19</c:f>
            </c:numRef>
          </c:val>
          <c:extLst>
            <c:ext xmlns:c16="http://schemas.microsoft.com/office/drawing/2014/chart" uri="{C3380CC4-5D6E-409C-BE32-E72D297353CC}">
              <c16:uniqueId val="{00000005-56ED-4E38-8DD9-A0761209D3E8}"/>
            </c:ext>
          </c:extLst>
        </c:ser>
        <c:ser>
          <c:idx val="6"/>
          <c:order val="6"/>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I$13:$I$19</c:f>
            </c:numRef>
          </c:val>
          <c:extLst>
            <c:ext xmlns:c16="http://schemas.microsoft.com/office/drawing/2014/chart" uri="{C3380CC4-5D6E-409C-BE32-E72D297353CC}">
              <c16:uniqueId val="{00000006-56ED-4E38-8DD9-A0761209D3E8}"/>
            </c:ext>
          </c:extLst>
        </c:ser>
        <c:ser>
          <c:idx val="7"/>
          <c:order val="7"/>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J$13:$J$19</c:f>
            </c:numRef>
          </c:val>
          <c:extLst>
            <c:ext xmlns:c16="http://schemas.microsoft.com/office/drawing/2014/chart" uri="{C3380CC4-5D6E-409C-BE32-E72D297353CC}">
              <c16:uniqueId val="{00000007-56ED-4E38-8DD9-A0761209D3E8}"/>
            </c:ext>
          </c:extLst>
        </c:ser>
        <c:ser>
          <c:idx val="8"/>
          <c:order val="8"/>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K$13:$K$19</c:f>
            </c:numRef>
          </c:val>
          <c:extLst>
            <c:ext xmlns:c16="http://schemas.microsoft.com/office/drawing/2014/chart" uri="{C3380CC4-5D6E-409C-BE32-E72D297353CC}">
              <c16:uniqueId val="{00000008-56ED-4E38-8DD9-A0761209D3E8}"/>
            </c:ext>
          </c:extLst>
        </c:ser>
        <c:ser>
          <c:idx val="9"/>
          <c:order val="9"/>
          <c:spPr>
            <a:solidFill>
              <a:schemeClr val="accent2">
                <a:lumMod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L$13:$L$19</c:f>
            </c:numRef>
          </c:val>
          <c:extLst>
            <c:ext xmlns:c16="http://schemas.microsoft.com/office/drawing/2014/chart" uri="{C3380CC4-5D6E-409C-BE32-E72D297353CC}">
              <c16:uniqueId val="{00000009-56ED-4E38-8DD9-A0761209D3E8}"/>
            </c:ext>
          </c:extLst>
        </c:ser>
        <c:ser>
          <c:idx val="10"/>
          <c:order val="10"/>
          <c:spPr>
            <a:solidFill>
              <a:srgbClr val="FF0000"/>
            </a:solidFill>
            <a:ln>
              <a:noFill/>
            </a:ln>
            <a:effectLst/>
          </c:spPr>
          <c:invertIfNegative val="0"/>
          <c:dLbls>
            <c:dLbl>
              <c:idx val="0"/>
              <c:tx>
                <c:rich>
                  <a:bodyPr/>
                  <a:lstStyle/>
                  <a:p>
                    <a:fld id="{CCA35B2C-63AD-4159-8694-734F4E3C13AA}"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56ED-4E38-8DD9-A0761209D3E8}"/>
                </c:ext>
              </c:extLst>
            </c:dLbl>
            <c:dLbl>
              <c:idx val="1"/>
              <c:tx>
                <c:rich>
                  <a:bodyPr/>
                  <a:lstStyle/>
                  <a:p>
                    <a:fld id="{FAAD0474-7635-444E-A7D1-11A3DB81CD4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56ED-4E38-8DD9-A0761209D3E8}"/>
                </c:ext>
              </c:extLst>
            </c:dLbl>
            <c:dLbl>
              <c:idx val="2"/>
              <c:tx>
                <c:rich>
                  <a:bodyPr/>
                  <a:lstStyle/>
                  <a:p>
                    <a:fld id="{D9A8A550-0582-4EFC-931C-D3D0973F7A3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56ED-4E38-8DD9-A0761209D3E8}"/>
                </c:ext>
              </c:extLst>
            </c:dLbl>
            <c:dLbl>
              <c:idx val="3"/>
              <c:tx>
                <c:rich>
                  <a:bodyPr/>
                  <a:lstStyle/>
                  <a:p>
                    <a:fld id="{9FFB6127-816C-48AB-B81C-7861A875DF3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56ED-4E38-8DD9-A0761209D3E8}"/>
                </c:ext>
              </c:extLst>
            </c:dLbl>
            <c:dLbl>
              <c:idx val="4"/>
              <c:tx>
                <c:rich>
                  <a:bodyPr/>
                  <a:lstStyle/>
                  <a:p>
                    <a:fld id="{03D07FC9-2D02-46A8-B583-8AEC29AEC0C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56ED-4E38-8DD9-A0761209D3E8}"/>
                </c:ext>
              </c:extLst>
            </c:dLbl>
            <c:dLbl>
              <c:idx val="5"/>
              <c:tx>
                <c:rich>
                  <a:bodyPr/>
                  <a:lstStyle/>
                  <a:p>
                    <a:fld id="{34E2103E-E022-45F6-A419-25AB55190682}"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0-56ED-4E38-8DD9-A0761209D3E8}"/>
                </c:ext>
              </c:extLst>
            </c:dLbl>
            <c:dLbl>
              <c:idx val="6"/>
              <c:tx>
                <c:rich>
                  <a:bodyPr/>
                  <a:lstStyle/>
                  <a:p>
                    <a:fld id="{DD33FDCF-F567-43A6-9703-06F3221CD572}"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56ED-4E38-8DD9-A0761209D3E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99"/>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Xếp hạng giải ngân 12.6.2023.xlsx]slide 2'!$B$13:$B$19</c:f>
              <c:strCache>
                <c:ptCount val="7"/>
                <c:pt idx="0">
                  <c:v>TỔNG SỐ VỐN TỈNH QUẢN LÝ CHIA THEO NGUỒN</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Xếp hạng giải ngân 12.6.2023.xlsx]slide 2'!$M$13:$M$19</c:f>
              <c:numCache>
                <c:formatCode>#,##0.00</c:formatCode>
                <c:ptCount val="7"/>
                <c:pt idx="0">
                  <c:v>29.25</c:v>
                </c:pt>
                <c:pt idx="1">
                  <c:v>24.14</c:v>
                </c:pt>
                <c:pt idx="2">
                  <c:v>49.75</c:v>
                </c:pt>
                <c:pt idx="3">
                  <c:v>27.32</c:v>
                </c:pt>
                <c:pt idx="4">
                  <c:v>23.93</c:v>
                </c:pt>
                <c:pt idx="5">
                  <c:v>56.82</c:v>
                </c:pt>
                <c:pt idx="6">
                  <c:v>37.729999999999997</c:v>
                </c:pt>
              </c:numCache>
            </c:numRef>
          </c:val>
          <c:extLst>
            <c:ext xmlns:c16="http://schemas.microsoft.com/office/drawing/2014/chart" uri="{C3380CC4-5D6E-409C-BE32-E72D297353CC}">
              <c16:uniqueId val="{0000000A-56ED-4E38-8DD9-A0761209D3E8}"/>
            </c:ext>
          </c:extLst>
        </c:ser>
        <c:dLbls>
          <c:dLblPos val="outEnd"/>
          <c:showLegendKey val="0"/>
          <c:showVal val="1"/>
          <c:showCatName val="0"/>
          <c:showSerName val="0"/>
          <c:showPercent val="0"/>
          <c:showBubbleSize val="0"/>
        </c:dLbls>
        <c:gapWidth val="219"/>
        <c:overlap val="-27"/>
        <c:axId val="1869454304"/>
        <c:axId val="1869461504"/>
      </c:barChart>
      <c:catAx>
        <c:axId val="1869454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99"/>
                </a:solidFill>
                <a:latin typeface="+mn-lt"/>
                <a:ea typeface="+mn-ea"/>
                <a:cs typeface="+mn-cs"/>
              </a:defRPr>
            </a:pPr>
            <a:endParaRPr lang="vi-VN"/>
          </a:p>
        </c:txPr>
        <c:crossAx val="1869461504"/>
        <c:crosses val="autoZero"/>
        <c:auto val="1"/>
        <c:lblAlgn val="ctr"/>
        <c:lblOffset val="100"/>
        <c:noMultiLvlLbl val="0"/>
      </c:catAx>
      <c:valAx>
        <c:axId val="186946150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8694543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6">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cap="none" spc="0" normalizeH="0" baseline="0"/>
  </cs:categoryAxis>
  <cs:chartArea>
    <cs:lnRef idx="0"/>
    <cs:fillRef idx="0"/>
    <cs:effectRef idx="0"/>
    <cs:fontRef idx="minor">
      <a:schemeClr val="dk1"/>
    </cs:fontRef>
    <cs:spPr>
      <a:pattFill prst="dkDnDiag">
        <a:fgClr>
          <a:schemeClr val="lt1"/>
        </a:fgClr>
        <a:bgClr>
          <a:schemeClr val="dk1">
            <a:lumMod val="10000"/>
            <a:lumOff val="90000"/>
          </a:schemeClr>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19050">
        <a:solidFill>
          <a:schemeClr val="lt1"/>
        </a:solidFill>
      </a:ln>
    </cs:spPr>
  </cs:dataPoint>
  <cs:dataPoint3D>
    <cs:lnRef idx="0"/>
    <cs:fillRef idx="0">
      <cs:styleClr val="auto"/>
    </cs:fillRef>
    <cs:effectRef idx="0"/>
    <cs:fontRef idx="minor">
      <a:schemeClr val="tx1"/>
    </cs:fontRef>
    <cs:spPr>
      <a:gradFill>
        <a:gsLst>
          <a:gs pos="100000">
            <a:schemeClr val="phClr">
              <a:lumMod val="60000"/>
              <a:lumOff val="40000"/>
            </a:schemeClr>
          </a:gs>
          <a:gs pos="0">
            <a:schemeClr val="phClr"/>
          </a:gs>
        </a:gsLst>
        <a:lin ang="5400000" scaled="0"/>
      </a:gradFill>
      <a:ln w="50800">
        <a:solidFill>
          <a:schemeClr val="lt1"/>
        </a:solidFill>
      </a:ln>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50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CE531857-95D9-4450-A523-F1CA7AE880F1}">
      <dgm:prSet phldrT="[Text]" custT="1"/>
      <dgm:spPr/>
      <dgm:t>
        <a:bodyPr/>
        <a:lstStyle/>
        <a:p>
          <a:r>
            <a:rPr lang="en-US" sz="4000"/>
            <a:t>1</a:t>
          </a:r>
        </a:p>
      </dgm:t>
    </dgm:pt>
    <dgm:pt modelId="{7049913E-CA72-4D04-86E8-DB4D4A7E415E}" type="parTrans" cxnId="{F2316B1A-A28B-4982-B678-722CAA864769}">
      <dgm:prSet/>
      <dgm:spPr/>
      <dgm:t>
        <a:bodyPr/>
        <a:lstStyle/>
        <a:p>
          <a:endParaRPr lang="en-US" sz="2400"/>
        </a:p>
      </dgm:t>
    </dgm:pt>
    <dgm:pt modelId="{6F0CD08A-C498-4E17-88C3-1D1175F05039}" type="sibTrans" cxnId="{F2316B1A-A28B-4982-B678-722CAA864769}">
      <dgm:prSet/>
      <dgm:spPr/>
      <dgm:t>
        <a:bodyPr/>
        <a:lstStyle/>
        <a:p>
          <a:endParaRPr lang="en-US" sz="2400"/>
        </a:p>
      </dgm:t>
    </dgm:pt>
    <dgm:pt modelId="{C1933DE2-883B-467A-A497-FC1A03521BD0}">
      <dgm:prSet phldrT="[Text]" custT="1"/>
      <dgm:spPr/>
      <dgm:t>
        <a:bodyPr/>
        <a:lstStyle/>
        <a:p>
          <a:r>
            <a:rPr lang="en-US" sz="4000"/>
            <a:t>2</a:t>
          </a:r>
        </a:p>
      </dgm:t>
    </dgm:pt>
    <dgm:pt modelId="{182E3680-630D-484B-89B5-E15E838A98D1}" type="parTrans" cxnId="{252A553D-B51E-445A-9195-BCB6DCFBCE23}">
      <dgm:prSet/>
      <dgm:spPr/>
      <dgm:t>
        <a:bodyPr/>
        <a:lstStyle/>
        <a:p>
          <a:endParaRPr lang="en-US" sz="2400"/>
        </a:p>
      </dgm:t>
    </dgm:pt>
    <dgm:pt modelId="{477253D1-903F-4DD6-A7E7-0586DD6242ED}" type="sibTrans" cxnId="{252A553D-B51E-445A-9195-BCB6DCFBCE23}">
      <dgm:prSet/>
      <dgm:spPr/>
      <dgm:t>
        <a:bodyPr/>
        <a:lstStyle/>
        <a:p>
          <a:endParaRPr lang="en-US" sz="2400"/>
        </a:p>
      </dgm:t>
    </dgm:pt>
    <dgm:pt modelId="{439D5BA7-172F-4129-ACD1-22C6B6C19329}">
      <dgm:prSet phldrT="[Text]" custT="1"/>
      <dgm:spPr/>
      <dgm:t>
        <a:bodyPr/>
        <a:lstStyle/>
        <a:p>
          <a:pPr marL="119063" indent="0" algn="just">
            <a:lnSpc>
              <a:spcPct val="100000"/>
            </a:lnSpc>
            <a:spcAft>
              <a:spcPts val="0"/>
            </a:spcAft>
            <a:buNone/>
          </a:pPr>
          <a:r>
            <a:rPr lang="it-IT" sz="2400" kern="1200">
              <a:solidFill>
                <a:prstClr val="black">
                  <a:hueOff val="0"/>
                  <a:satOff val="0"/>
                  <a:lumOff val="0"/>
                  <a:alphaOff val="0"/>
                </a:prstClr>
              </a:solidFill>
              <a:latin typeface="Times New Roman" panose="02020603050405020304" pitchFamily="18" charset="0"/>
              <a:ea typeface="+mn-ea"/>
              <a:cs typeface="+mn-cs"/>
            </a:rPr>
            <a:t>Hoạt động sản xuất, kinh doanh, sản xuất công nghiệp, xuất khẩu… gặp nhiều khó khăn. </a:t>
          </a:r>
          <a:r>
            <a:rPr lang="es-ES" sz="2400" kern="1200">
              <a:solidFill>
                <a:prstClr val="black">
                  <a:hueOff val="0"/>
                  <a:satOff val="0"/>
                  <a:lumOff val="0"/>
                  <a:alphaOff val="0"/>
                </a:prstClr>
              </a:solidFill>
              <a:latin typeface="Times New Roman" panose="02020603050405020304" pitchFamily="18" charset="0"/>
              <a:ea typeface="+mn-ea"/>
              <a:cs typeface="+mn-cs"/>
            </a:rPr>
            <a:t>Nhiều doanh nghiệp gặp khó khăn trong huy động, tiếp cận vốn, chi phí sản xuất kinh doanh tăng, thị trường sản phẩm xuất khẩu bị thu hẹp</a:t>
          </a:r>
          <a:r>
            <a:rPr lang="it-IT" sz="2400" kern="1200">
              <a:solidFill>
                <a:prstClr val="black">
                  <a:hueOff val="0"/>
                  <a:satOff val="0"/>
                  <a:lumOff val="0"/>
                  <a:alphaOff val="0"/>
                </a:prstClr>
              </a:solidFill>
              <a:latin typeface="Times New Roman" panose="02020603050405020304" pitchFamily="18" charset="0"/>
              <a:ea typeface="+mn-ea"/>
              <a:cs typeface="+mn-cs"/>
            </a:rPr>
            <a:t>. Một số sản phẩm xuất khẩu chủ lực như gỗ, sản phẩm gỗ, dệt may, sản phẩm từ chất dẻo, hàng thủy sản... sụt giảm so với cùng kỳ</a:t>
          </a:r>
          <a:endParaRPr lang="en-US" sz="2400" kern="1200">
            <a:solidFill>
              <a:prstClr val="black">
                <a:hueOff val="0"/>
                <a:satOff val="0"/>
                <a:lumOff val="0"/>
                <a:alphaOff val="0"/>
              </a:prstClr>
            </a:solidFill>
            <a:latin typeface="Times New Roman" panose="02020603050405020304" pitchFamily="18" charset="0"/>
            <a:ea typeface="+mn-ea"/>
            <a:cs typeface="+mn-cs"/>
          </a:endParaRPr>
        </a:p>
      </dgm:t>
    </dgm:pt>
    <dgm:pt modelId="{8B64A804-016B-409D-B50E-B11366C9E709}" type="parTrans" cxnId="{03A57C13-84A1-47F9-9654-3D8E9D1A7AC5}">
      <dgm:prSet/>
      <dgm:spPr/>
      <dgm:t>
        <a:bodyPr/>
        <a:lstStyle/>
        <a:p>
          <a:endParaRPr lang="en-US" sz="2400"/>
        </a:p>
      </dgm:t>
    </dgm:pt>
    <dgm:pt modelId="{CA2B4599-8ADC-48A0-90B9-B09B905E51B6}" type="sibTrans" cxnId="{03A57C13-84A1-47F9-9654-3D8E9D1A7AC5}">
      <dgm:prSet/>
      <dgm:spPr/>
      <dgm:t>
        <a:bodyPr/>
        <a:lstStyle/>
        <a:p>
          <a:endParaRPr lang="en-US" sz="2400"/>
        </a:p>
      </dgm:t>
    </dgm:pt>
    <dgm:pt modelId="{56D39143-023E-4C72-BBA5-EF173F9BD014}">
      <dgm:prSet phldrT="[Text]" custT="1"/>
      <dgm:spPr/>
      <dgm:t>
        <a:bodyPr/>
        <a:lstStyle/>
        <a:p>
          <a:r>
            <a:rPr lang="en-US" sz="4000"/>
            <a:t>3</a:t>
          </a:r>
        </a:p>
      </dgm:t>
    </dgm:pt>
    <dgm:pt modelId="{704DAA72-BD58-41D8-A497-12E1A4CC40DA}" type="parTrans" cxnId="{A67447F1-BB7B-4D3B-82E0-4E32EF97F94F}">
      <dgm:prSet/>
      <dgm:spPr/>
      <dgm:t>
        <a:bodyPr/>
        <a:lstStyle/>
        <a:p>
          <a:endParaRPr lang="en-US" sz="2400"/>
        </a:p>
      </dgm:t>
    </dgm:pt>
    <dgm:pt modelId="{F979FFB3-6427-4249-90BE-69B53EC9AD13}" type="sibTrans" cxnId="{A67447F1-BB7B-4D3B-82E0-4E32EF97F94F}">
      <dgm:prSet/>
      <dgm:spPr/>
      <dgm:t>
        <a:bodyPr/>
        <a:lstStyle/>
        <a:p>
          <a:endParaRPr lang="en-US" sz="2400"/>
        </a:p>
      </dgm:t>
    </dgm:pt>
    <dgm:pt modelId="{3D9335D1-031F-4F65-962F-9CDAB09D253B}">
      <dgm:prSet custT="1"/>
      <dgm:spPr/>
      <dgm:t>
        <a:bodyPr/>
        <a:lstStyle/>
        <a:p>
          <a:pPr marL="119063" indent="0" algn="just">
            <a:buNone/>
          </a:pPr>
          <a:r>
            <a:rPr lang="it-IT" sz="2400" kern="1200" dirty="0">
              <a:solidFill>
                <a:prstClr val="black">
                  <a:hueOff val="0"/>
                  <a:satOff val="0"/>
                  <a:lumOff val="0"/>
                  <a:alphaOff val="0"/>
                </a:prstClr>
              </a:solidFill>
              <a:latin typeface="Times New Roman" panose="02020603050405020304" pitchFamily="18" charset="0"/>
              <a:ea typeface="+mn-ea"/>
              <a:cs typeface="+mn-cs"/>
            </a:rPr>
            <a:t>Công tác thu hút đầu tư, nhất là đầu tư nước ngoài còn hạn chế. Công tác bồi thường, giải phóng mặt bằng đối với một số công trình, </a:t>
          </a:r>
          <a:r>
            <a:rPr lang="it-IT" sz="2400" kern="1200">
              <a:solidFill>
                <a:prstClr val="black">
                  <a:hueOff val="0"/>
                  <a:satOff val="0"/>
                  <a:lumOff val="0"/>
                  <a:alphaOff val="0"/>
                </a:prstClr>
              </a:solidFill>
              <a:latin typeface="Times New Roman" panose="02020603050405020304" pitchFamily="18" charset="0"/>
              <a:ea typeface="+mn-ea"/>
              <a:cs typeface="+mn-cs"/>
            </a:rPr>
            <a:t>dự án còn </a:t>
          </a:r>
          <a:r>
            <a:rPr lang="it-IT" sz="2400" kern="1200" dirty="0">
              <a:solidFill>
                <a:prstClr val="black">
                  <a:hueOff val="0"/>
                  <a:satOff val="0"/>
                  <a:lumOff val="0"/>
                  <a:alphaOff val="0"/>
                </a:prstClr>
              </a:solidFill>
              <a:latin typeface="Times New Roman" panose="02020603050405020304" pitchFamily="18" charset="0"/>
              <a:ea typeface="+mn-ea"/>
              <a:cs typeface="+mn-cs"/>
            </a:rPr>
            <a:t>chậm</a:t>
          </a:r>
          <a:r>
            <a:rPr lang="vi-VN"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Một</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số</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ự</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á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ầu</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ư</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ự</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á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bất</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ộ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sả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lớ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bị</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ngư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rệ</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ừ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ầu</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ư</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hoặc</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chậm</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riể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khai</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gm:t>
    </dgm:pt>
    <dgm:pt modelId="{A8D602EA-28E3-40C4-B5A1-8DB7AC2DB7AE}" type="parTrans" cxnId="{56A90894-A054-40DB-AC89-EF01EA3423D6}">
      <dgm:prSet/>
      <dgm:spPr/>
      <dgm:t>
        <a:bodyPr/>
        <a:lstStyle/>
        <a:p>
          <a:endParaRPr lang="en-US" sz="2400"/>
        </a:p>
      </dgm:t>
    </dgm:pt>
    <dgm:pt modelId="{354CC2F7-7518-4094-B82B-BC553913C535}" type="sibTrans" cxnId="{56A90894-A054-40DB-AC89-EF01EA3423D6}">
      <dgm:prSet/>
      <dgm:spPr/>
      <dgm:t>
        <a:bodyPr/>
        <a:lstStyle/>
        <a:p>
          <a:endParaRPr lang="en-US" sz="2400"/>
        </a:p>
      </dgm:t>
    </dgm:pt>
    <dgm:pt modelId="{7158C417-01D3-4DA0-9415-16B3B3977CD1}">
      <dgm:prSet phldrT="[Text]" custT="1"/>
      <dgm:spPr/>
      <dgm:t>
        <a:bodyPr/>
        <a:lstStyle/>
        <a:p>
          <a:pPr marL="119063" indent="0" algn="just">
            <a:lnSpc>
              <a:spcPct val="100000"/>
            </a:lnSpc>
            <a:spcAft>
              <a:spcPts val="0"/>
            </a:spcAft>
            <a:buNone/>
          </a:pP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Sản xuất</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nông nghiệp </a:t>
          </a:r>
          <a:r>
            <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đầu năm gặp nhiều bất lợi do t</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hời tiết </a:t>
          </a: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diễn biến phức tạp, không theo quy </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luật</a:t>
          </a: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a:t>
          </a: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iệc tái đàn, phát triển vật nuôi trên địa bàn tỉnh còn gặp khó khăn, tình hình dịch bệnh trên đàn gia súc, gia cầm vẫn tiềm ẩn nguy cơ bùng phát; tình trạng phá rừng, khai thác rừng trái pháp luật và tàu cá vi phạm lãnh hải nước ngoài vẫn còn xảy ra</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932BBA9B-3838-4105-B5F8-F779936A7798}" type="sibTrans" cxnId="{151F138B-8227-4665-BD22-1724EE04FEC3}">
      <dgm:prSet/>
      <dgm:spPr/>
      <dgm:t>
        <a:bodyPr/>
        <a:lstStyle/>
        <a:p>
          <a:endParaRPr lang="en-US" sz="2400"/>
        </a:p>
      </dgm:t>
    </dgm:pt>
    <dgm:pt modelId="{8C5248B0-CF95-46B9-B3DF-5903DA7BE923}" type="parTrans" cxnId="{151F138B-8227-4665-BD22-1724EE04FEC3}">
      <dgm:prSet/>
      <dgm:spPr/>
      <dgm:t>
        <a:bodyPr/>
        <a:lstStyle/>
        <a:p>
          <a:endParaRPr lang="en-US" sz="2400"/>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3">
        <dgm:presLayoutVars>
          <dgm:chMax val="1"/>
          <dgm:bulletEnabled val="1"/>
        </dgm:presLayoutVars>
      </dgm:prSet>
      <dgm:spPr/>
    </dgm:pt>
    <dgm:pt modelId="{9770188F-3220-4119-9599-0FD33E998D96}" type="pres">
      <dgm:prSet presAssocID="{CE531857-95D9-4450-A523-F1CA7AE880F1}" presName="descendantText" presStyleLbl="alignAcc1" presStyleIdx="0" presStyleCnt="3" custScaleY="153365">
        <dgm:presLayoutVars>
          <dgm:bulletEnabled val="1"/>
        </dgm:presLayoutVars>
      </dgm:prSet>
      <dgm:spPr/>
    </dgm:pt>
    <dgm:pt modelId="{7F4255E7-FA3E-4176-8361-F3068433BD36}" type="pres">
      <dgm:prSet presAssocID="{6F0CD08A-C498-4E17-88C3-1D1175F05039}" presName="sp" presStyleCnt="0"/>
      <dgm:spPr/>
    </dgm:pt>
    <dgm:pt modelId="{E1AF1DC7-3446-4E70-A12E-3A13B2038890}" type="pres">
      <dgm:prSet presAssocID="{C1933DE2-883B-467A-A497-FC1A03521BD0}" presName="composite" presStyleCnt="0"/>
      <dgm:spPr/>
    </dgm:pt>
    <dgm:pt modelId="{89164601-E0A1-4038-AED2-754D77EF4C41}" type="pres">
      <dgm:prSet presAssocID="{C1933DE2-883B-467A-A497-FC1A03521BD0}" presName="parentText" presStyleLbl="alignNode1" presStyleIdx="1" presStyleCnt="3" custLinFactNeighborY="296">
        <dgm:presLayoutVars>
          <dgm:chMax val="1"/>
          <dgm:bulletEnabled val="1"/>
        </dgm:presLayoutVars>
      </dgm:prSet>
      <dgm:spPr/>
    </dgm:pt>
    <dgm:pt modelId="{594D2AB4-91B5-4F18-9ACA-1D51E359B741}" type="pres">
      <dgm:prSet presAssocID="{C1933DE2-883B-467A-A497-FC1A03521BD0}" presName="descendantText" presStyleLbl="alignAcc1" presStyleIdx="1" presStyleCnt="3" custScaleY="148991" custLinFactNeighborY="440">
        <dgm:presLayoutVars>
          <dgm:bulletEnabled val="1"/>
        </dgm:presLayoutVars>
      </dgm:prSet>
      <dgm:spPr/>
    </dgm:pt>
    <dgm:pt modelId="{99D9A01F-7B1E-4703-8363-07CEAF17D94C}" type="pres">
      <dgm:prSet presAssocID="{477253D1-903F-4DD6-A7E7-0586DD6242ED}" presName="sp" presStyleCnt="0"/>
      <dgm:spPr/>
    </dgm:pt>
    <dgm:pt modelId="{F0A2DE8B-D10D-4031-BBF1-6A931FA34DEA}" type="pres">
      <dgm:prSet presAssocID="{56D39143-023E-4C72-BBA5-EF173F9BD014}" presName="composite" presStyleCnt="0"/>
      <dgm:spPr/>
    </dgm:pt>
    <dgm:pt modelId="{3DA4DBDD-86BF-4DC6-9D99-05C1C1BFB383}" type="pres">
      <dgm:prSet presAssocID="{56D39143-023E-4C72-BBA5-EF173F9BD014}" presName="parentText" presStyleLbl="alignNode1" presStyleIdx="2" presStyleCnt="3" custLinFactNeighborX="1207" custLinFactNeighborY="-8333">
        <dgm:presLayoutVars>
          <dgm:chMax val="1"/>
          <dgm:bulletEnabled val="1"/>
        </dgm:presLayoutVars>
      </dgm:prSet>
      <dgm:spPr/>
    </dgm:pt>
    <dgm:pt modelId="{18D2B7CF-92DC-4C98-B7A8-681260E88B2C}" type="pres">
      <dgm:prSet presAssocID="{56D39143-023E-4C72-BBA5-EF173F9BD014}" presName="descendantText" presStyleLbl="alignAcc1" presStyleIdx="2" presStyleCnt="3" custScaleY="105888" custLinFactNeighborY="-5460">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03A57C13-84A1-47F9-9654-3D8E9D1A7AC5}" srcId="{C1933DE2-883B-467A-A497-FC1A03521BD0}" destId="{439D5BA7-172F-4129-ACD1-22C6B6C19329}" srcOrd="0" destOrd="0" parTransId="{8B64A804-016B-409D-B50E-B11366C9E709}" sibTransId="{CA2B4599-8ADC-48A0-90B9-B09B905E51B6}"/>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26794A34-D8C6-4415-BC12-96721F7B7CB0}" type="presOf" srcId="{439D5BA7-172F-4129-ACD1-22C6B6C19329}" destId="{594D2AB4-91B5-4F18-9ACA-1D51E359B741}" srcOrd="0" destOrd="0" presId="urn:microsoft.com/office/officeart/2005/8/layout/chevron2"/>
    <dgm:cxn modelId="{252A553D-B51E-445A-9195-BCB6DCFBCE23}" srcId="{011C79E0-B116-4E55-8C54-A2CE86D2A740}" destId="{C1933DE2-883B-467A-A497-FC1A03521BD0}" srcOrd="1" destOrd="0" parTransId="{182E3680-630D-484B-89B5-E15E838A98D1}" sibTransId="{477253D1-903F-4DD6-A7E7-0586DD6242ED}"/>
    <dgm:cxn modelId="{88AC068A-BA0C-4BE8-9CA2-D5EA93B65317}" type="presOf" srcId="{3D9335D1-031F-4F65-962F-9CDAB09D253B}" destId="{18D2B7CF-92DC-4C98-B7A8-681260E88B2C}"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87018493-5DCC-46DF-ADEB-440E6C1C91C8}" type="presOf" srcId="{C1933DE2-883B-467A-A497-FC1A03521BD0}" destId="{89164601-E0A1-4038-AED2-754D77EF4C41}" srcOrd="0" destOrd="0" presId="urn:microsoft.com/office/officeart/2005/8/layout/chevron2"/>
    <dgm:cxn modelId="{56A90894-A054-40DB-AC89-EF01EA3423D6}" srcId="{56D39143-023E-4C72-BBA5-EF173F9BD014}" destId="{3D9335D1-031F-4F65-962F-9CDAB09D253B}" srcOrd="0" destOrd="0" parTransId="{A8D602EA-28E3-40C4-B5A1-8DB7AC2DB7AE}" sibTransId="{354CC2F7-7518-4094-B82B-BC553913C535}"/>
    <dgm:cxn modelId="{E309BFBF-A1BB-4F85-89CF-E531CEF7C843}" type="presOf" srcId="{56D39143-023E-4C72-BBA5-EF173F9BD014}" destId="{3DA4DBDD-86BF-4DC6-9D99-05C1C1BFB383}"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A67447F1-BB7B-4D3B-82E0-4E32EF97F94F}" srcId="{011C79E0-B116-4E55-8C54-A2CE86D2A740}" destId="{56D39143-023E-4C72-BBA5-EF173F9BD014}" srcOrd="2" destOrd="0" parTransId="{704DAA72-BD58-41D8-A497-12E1A4CC40DA}" sibTransId="{F979FFB3-6427-4249-90BE-69B53EC9AD13}"/>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0FDA4322-47B1-47D3-9119-2784D75CA99F}" type="presParOf" srcId="{710DA7AD-DF2E-4B6F-8F66-B72A755643A6}" destId="{E1AF1DC7-3446-4E70-A12E-3A13B2038890}" srcOrd="2" destOrd="0" presId="urn:microsoft.com/office/officeart/2005/8/layout/chevron2"/>
    <dgm:cxn modelId="{2748EC06-087A-4792-8284-2E838983AF18}" type="presParOf" srcId="{E1AF1DC7-3446-4E70-A12E-3A13B2038890}" destId="{89164601-E0A1-4038-AED2-754D77EF4C41}" srcOrd="0" destOrd="0" presId="urn:microsoft.com/office/officeart/2005/8/layout/chevron2"/>
    <dgm:cxn modelId="{9076968D-CA3F-4F41-9681-F8114BED2EAE}" type="presParOf" srcId="{E1AF1DC7-3446-4E70-A12E-3A13B2038890}" destId="{594D2AB4-91B5-4F18-9ACA-1D51E359B741}" srcOrd="1" destOrd="0" presId="urn:microsoft.com/office/officeart/2005/8/layout/chevron2"/>
    <dgm:cxn modelId="{8E07F895-B87A-456A-A492-8132DB0818A7}" type="presParOf" srcId="{710DA7AD-DF2E-4B6F-8F66-B72A755643A6}" destId="{99D9A01F-7B1E-4703-8363-07CEAF17D94C}" srcOrd="3" destOrd="0" presId="urn:microsoft.com/office/officeart/2005/8/layout/chevron2"/>
    <dgm:cxn modelId="{D32B60BF-8AFA-49A0-A64E-81D07E41B556}" type="presParOf" srcId="{710DA7AD-DF2E-4B6F-8F66-B72A755643A6}" destId="{F0A2DE8B-D10D-4031-BBF1-6A931FA34DEA}" srcOrd="4" destOrd="0" presId="urn:microsoft.com/office/officeart/2005/8/layout/chevron2"/>
    <dgm:cxn modelId="{7A2F8F54-E28B-49DF-A86C-0540E0757F76}" type="presParOf" srcId="{F0A2DE8B-D10D-4031-BBF1-6A931FA34DEA}" destId="{3DA4DBDD-86BF-4DC6-9D99-05C1C1BFB383}" srcOrd="0" destOrd="0" presId="urn:microsoft.com/office/officeart/2005/8/layout/chevron2"/>
    <dgm:cxn modelId="{6EBD4B51-5CCF-481D-B792-9B5BFA64197C}" type="presParOf" srcId="{F0A2DE8B-D10D-4031-BBF1-6A931FA34DEA}" destId="{18D2B7CF-92DC-4C98-B7A8-681260E88B2C}"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3</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a:latin typeface="Times New Roman" panose="02020603050405020304" pitchFamily="18" charset="0"/>
              <a:cs typeface="Times New Roman" panose="02020603050405020304" pitchFamily="18" charset="0"/>
            </a:rPr>
            <a:t>Thương mại – dịch vụ - du lịch</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X="-49688" custLinFactNeighborY="1345">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ScaleX="99648" custLinFactNeighborX="8902" custLinFactNeighborY="-14424">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4</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i="0" kern="1200">
              <a:latin typeface="Times New Roman" panose="02020603050405020304" pitchFamily="18" charset="0"/>
              <a:cs typeface="Times New Roman" panose="02020603050405020304" pitchFamily="18" charset="0"/>
            </a:rPr>
            <a:t>Tài chính – ngân sách</a:t>
          </a:r>
          <a:endParaRPr lang="en-US" sz="3600" b="1" i="0"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a:latin typeface="Times New Roman" panose="02020603050405020304" pitchFamily="18" charset="0"/>
              <a:cs typeface="Times New Roman" panose="02020603050405020304" pitchFamily="18" charset="0"/>
            </a:rPr>
            <a:t>Đầu tư phát triển</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a:latin typeface="Times New Roman" panose="02020603050405020304" pitchFamily="18" charset="0"/>
              <a:cs typeface="Times New Roman" panose="02020603050405020304" pitchFamily="18" charset="0"/>
            </a:rPr>
            <a:t>Đầu tư phát triển</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5" custLinFactNeighborY="-7557">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5</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200" b="1" kern="1200" dirty="0">
              <a:latin typeface="Times New Roman" panose="02020603050405020304" pitchFamily="18" charset="0"/>
              <a:cs typeface="Times New Roman" panose="02020603050405020304" pitchFamily="18" charset="0"/>
            </a:rPr>
            <a:t>Đầu tư phát </a:t>
          </a:r>
          <a:r>
            <a:rPr lang="vi-VN"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ối</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ới</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Ban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quản</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lý</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Khu</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kinh</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ế</a:t>
          </a:r>
          <a:endPar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5" custLinFactNeighborY="-7557">
        <dgm:presLayoutVars>
          <dgm:bulletEnabled val="1"/>
        </dgm:presLayoutVars>
      </dgm:prSet>
      <dgm:spPr/>
    </dgm:pt>
  </dgm:ptLst>
  <dgm:cxnLst>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BDEFDFA4-F646-48FC-9AE8-C1C4A690D8C9}" type="presOf" srcId="{CE531857-95D9-4450-A523-F1CA7AE880F1}" destId="{E5F4221C-3B75-4195-B6B0-6C7247B30852}" srcOrd="0" destOrd="0" presId="urn:microsoft.com/office/officeart/2005/8/layout/chevron2"/>
    <dgm:cxn modelId="{5CC6E8C8-3C77-4657-8AC0-05EFFB27564F}" type="presOf" srcId="{7158C417-01D3-4DA0-9415-16B3B3977CD1}" destId="{9770188F-3220-4119-9599-0FD33E998D96}" srcOrd="0" destOrd="0" presId="urn:microsoft.com/office/officeart/2005/8/layout/chevron2"/>
    <dgm:cxn modelId="{4F2AE1FE-255C-4992-8546-0D18F81287DB}" type="presOf" srcId="{011C79E0-B116-4E55-8C54-A2CE86D2A740}" destId="{710DA7AD-DF2E-4B6F-8F66-B72A755643A6}" srcOrd="0" destOrd="0" presId="urn:microsoft.com/office/officeart/2005/8/layout/chevron2"/>
    <dgm:cxn modelId="{B2D4E6F6-7421-47E3-A86F-A6643F0ADC27}" type="presParOf" srcId="{710DA7AD-DF2E-4B6F-8F66-B72A755643A6}" destId="{E56F3C40-8FB1-476F-A6D3-68C8D2629BA9}" srcOrd="0" destOrd="0" presId="urn:microsoft.com/office/officeart/2005/8/layout/chevron2"/>
    <dgm:cxn modelId="{5A89A266-FE33-4D44-A9EC-841197F9583B}" type="presParOf" srcId="{E56F3C40-8FB1-476F-A6D3-68C8D2629BA9}" destId="{E5F4221C-3B75-4195-B6B0-6C7247B30852}" srcOrd="0" destOrd="0" presId="urn:microsoft.com/office/officeart/2005/8/layout/chevron2"/>
    <dgm:cxn modelId="{2F6E8483-50BA-4721-97D8-0D9BF43E80E4}"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6</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200" b="1" i="0" kern="1200">
              <a:latin typeface="Times New Roman" panose="02020603050405020304" pitchFamily="18" charset="0"/>
              <a:cs typeface="Times New Roman" panose="02020603050405020304" pitchFamily="18" charset="0"/>
            </a:rPr>
            <a:t>Quản lý môi trường</a:t>
          </a:r>
          <a:endParaRPr lang="en-US" sz="3200" b="1" kern="1200" dirty="0">
            <a:latin typeface="Times New Roman" panose="02020603050405020304" pitchFamily="18" charset="0"/>
            <a:cs typeface="Times New Roman" panose="02020603050405020304"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9C8E638D-7CAD-4FAB-A70B-FEBE99050FC2}" type="presOf" srcId="{011C79E0-B116-4E55-8C54-A2CE86D2A740}" destId="{710DA7AD-DF2E-4B6F-8F66-B72A755643A6}" srcOrd="0" destOrd="0" presId="urn:microsoft.com/office/officeart/2005/8/layout/chevron2"/>
    <dgm:cxn modelId="{466DCDB7-0836-4046-89AE-C45AB74B215F}" type="presOf" srcId="{CE531857-95D9-4450-A523-F1CA7AE880F1}" destId="{E5F4221C-3B75-4195-B6B0-6C7247B30852}" srcOrd="0" destOrd="0" presId="urn:microsoft.com/office/officeart/2005/8/layout/chevron2"/>
    <dgm:cxn modelId="{7C68E3F7-B7D2-4AB5-980F-7FE14101491C}" type="presOf" srcId="{7158C417-01D3-4DA0-9415-16B3B3977CD1}" destId="{9770188F-3220-4119-9599-0FD33E998D96}" srcOrd="0" destOrd="0" presId="urn:microsoft.com/office/officeart/2005/8/layout/chevron2"/>
    <dgm:cxn modelId="{B54B0242-1E09-4DF4-BB58-6D1B97C58AB7}" type="presParOf" srcId="{710DA7AD-DF2E-4B6F-8F66-B72A755643A6}" destId="{E56F3C40-8FB1-476F-A6D3-68C8D2629BA9}" srcOrd="0" destOrd="0" presId="urn:microsoft.com/office/officeart/2005/8/layout/chevron2"/>
    <dgm:cxn modelId="{7E163BB7-A48C-4E71-977F-8C899A7A4948}" type="presParOf" srcId="{E56F3C40-8FB1-476F-A6D3-68C8D2629BA9}" destId="{E5F4221C-3B75-4195-B6B0-6C7247B30852}" srcOrd="0" destOrd="0" presId="urn:microsoft.com/office/officeart/2005/8/layout/chevron2"/>
    <dgm:cxn modelId="{9A3F557C-1F49-45C7-AD39-3E304F800EF9}"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7</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a:latin typeface="Times New Roman" panose="02020603050405020304" pitchFamily="18" charset="0"/>
              <a:cs typeface="Times New Roman" panose="02020603050405020304" pitchFamily="18" charset="0"/>
            </a:rPr>
            <a:t>Văn hóa – xã hội</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8</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a:latin typeface="Times New Roman" panose="02020603050405020304" pitchFamily="18" charset="0"/>
              <a:cs typeface="Times New Roman" panose="02020603050405020304" pitchFamily="18" charset="0"/>
            </a:rPr>
            <a:t>Xây dựng chính quyền và quốc phòng – an ninh</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1ED316F6-B184-4B6B-85AB-C4A397F59195}">
      <dgm:prSet custT="1"/>
      <dgm:spPr/>
      <dgm:t>
        <a:bodyPr/>
        <a:lstStyle/>
        <a:p>
          <a:pPr marL="119063" indent="0">
            <a:buFontTx/>
            <a:buNone/>
          </a:pPr>
          <a:r>
            <a:rPr lang="vi-VN"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u ngân sách từ nguồn thu tiền sử dụng đất gặp khó khăn</a:t>
          </a:r>
          <a:r>
            <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 hưởng lớn đến </a:t>
          </a:r>
          <a:r>
            <a:rPr lang="it-IT"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a:t>
          </a:r>
          <a:endPar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CD8C3E01-036F-49B6-8DFD-E7EF8ADFCD9F}" type="parTrans" cxnId="{C03E96B2-9383-46C3-8FD9-D52B5DE5C242}">
      <dgm:prSet/>
      <dgm:spPr/>
      <dgm:t>
        <a:bodyPr/>
        <a:lstStyle/>
        <a:p>
          <a:endParaRPr lang="en-US"/>
        </a:p>
      </dgm:t>
    </dgm:pt>
    <dgm:pt modelId="{7843BD3E-2CD9-41DE-8FCB-D56CAB9B6543}" type="sibTrans" cxnId="{C03E96B2-9383-46C3-8FD9-D52B5DE5C242}">
      <dgm:prSet/>
      <dgm:spPr/>
      <dgm:t>
        <a:bodyPr/>
        <a:lstStyle/>
        <a:p>
          <a:endParaRPr lang="en-US"/>
        </a:p>
      </dgm:t>
    </dgm:pt>
    <dgm:pt modelId="{A7386FF2-7645-4D23-B0F9-6007E0C1E811}">
      <dgm:prSet custT="1"/>
      <dgm:spPr/>
      <dgm:t>
        <a:bodyPr/>
        <a:lstStyle/>
        <a:p>
          <a:pPr marL="119063" indent="0"/>
          <a:r>
            <a:rPr lang="vi-VN" sz="4000">
              <a:latin typeface="+mj-lt"/>
            </a:rPr>
            <a:t>5</a:t>
          </a:r>
          <a:endParaRPr lang="en-US" sz="4000">
            <a:latin typeface="+mj-lt"/>
          </a:endParaRPr>
        </a:p>
      </dgm:t>
    </dgm:pt>
    <dgm:pt modelId="{23012206-C222-4098-A1DA-A5F7998DC7B1}" type="parTrans" cxnId="{F6F21B5F-805D-47EE-B61E-19025C7301DD}">
      <dgm:prSet/>
      <dgm:spPr/>
      <dgm:t>
        <a:bodyPr/>
        <a:lstStyle/>
        <a:p>
          <a:endParaRPr lang="vi-VN"/>
        </a:p>
      </dgm:t>
    </dgm:pt>
    <dgm:pt modelId="{329DC56E-BCA0-439F-97D5-401C1BAADBF3}" type="sibTrans" cxnId="{F6F21B5F-805D-47EE-B61E-19025C7301DD}">
      <dgm:prSet/>
      <dgm:spPr/>
      <dgm:t>
        <a:bodyPr/>
        <a:lstStyle/>
        <a:p>
          <a:endParaRPr lang="vi-VN"/>
        </a:p>
      </dgm:t>
    </dgm:pt>
    <dgm:pt modelId="{E6A2034F-737E-4B56-A2AD-3C8BF456CAA3}">
      <dgm:prSet custT="1"/>
      <dgm:spPr/>
      <dgm:t>
        <a:bodyPr/>
        <a:lstStyle/>
        <a:p>
          <a:pPr marL="119063" indent="0">
            <a:buFontTx/>
            <a:buNone/>
          </a:pPr>
          <a:r>
            <a:rPr lang="en-US" sz="4000">
              <a:latin typeface="+mj-lt"/>
            </a:rPr>
            <a:t>6</a:t>
          </a:r>
        </a:p>
      </dgm:t>
    </dgm:pt>
    <dgm:pt modelId="{BB0DD9AF-7B23-48C1-BAE7-E9182D24F122}" type="parTrans" cxnId="{1C43745D-04AC-4B24-BC00-2721C9B548C9}">
      <dgm:prSet/>
      <dgm:spPr/>
      <dgm:t>
        <a:bodyPr/>
        <a:lstStyle/>
        <a:p>
          <a:endParaRPr lang="vi-VN"/>
        </a:p>
      </dgm:t>
    </dgm:pt>
    <dgm:pt modelId="{D476F38B-96B4-4EA2-99D2-CFAE89DD5384}" type="sibTrans" cxnId="{1C43745D-04AC-4B24-BC00-2721C9B548C9}">
      <dgm:prSet/>
      <dgm:spPr/>
      <dgm:t>
        <a:bodyPr/>
        <a:lstStyle/>
        <a:p>
          <a:endParaRPr lang="vi-VN"/>
        </a:p>
      </dgm:t>
    </dgm:pt>
    <dgm:pt modelId="{9852772B-B489-4533-8CE3-26D80FB12247}">
      <dgm:prSet custT="1"/>
      <dgm:spPr/>
      <dgm:t>
        <a:bodyPr/>
        <a:lstStyle/>
        <a:p>
          <a:pPr marL="119063" indent="0">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ình trạng lấn chiếm đất đai, xây dựng trái phép, ô nhiễm môi trường tại một số cụm, điểm công nghiệp... vẫn còn xảy ra ở một số địa phương nhưng chưa được xử lý dứt điểm. Công tác quản lý đất đai, tài nguyên khoáng sản tại một số địa phương, nhất là ở cơ sở chưa chặt chẽ</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C8E3A400-78EA-46BD-A414-1AA4FAF461D0}" type="parTrans" cxnId="{2009CA93-5119-4D6D-8BCD-CCED3CA865B5}">
      <dgm:prSet/>
      <dgm:spPr/>
      <dgm:t>
        <a:bodyPr/>
        <a:lstStyle/>
        <a:p>
          <a:endParaRPr lang="vi-VN"/>
        </a:p>
      </dgm:t>
    </dgm:pt>
    <dgm:pt modelId="{14F10B28-29A1-4E73-BA74-A1E0E33F15E2}" type="sibTrans" cxnId="{2009CA93-5119-4D6D-8BCD-CCED3CA865B5}">
      <dgm:prSet/>
      <dgm:spPr/>
      <dgm:t>
        <a:bodyPr/>
        <a:lstStyle/>
        <a:p>
          <a:endParaRPr lang="vi-VN"/>
        </a:p>
      </dgm:t>
    </dgm:pt>
    <dgm:pt modelId="{CE531857-95D9-4450-A523-F1CA7AE880F1}">
      <dgm:prSet phldrT="[Text]" custT="1"/>
      <dgm:spPr/>
      <dgm:t>
        <a:bodyPr/>
        <a:lstStyle/>
        <a:p>
          <a:pPr marL="119063" lvl="0" indent="0" algn="ctr" defTabSz="1778000">
            <a:lnSpc>
              <a:spcPct val="90000"/>
            </a:lnSpc>
            <a:spcBef>
              <a:spcPct val="0"/>
            </a:spcBef>
            <a:spcAft>
              <a:spcPct val="35000"/>
            </a:spcAft>
            <a:buNone/>
          </a:pPr>
          <a:r>
            <a:rPr lang="en-US" sz="4000" kern="1200">
              <a:solidFill>
                <a:prstClr val="white"/>
              </a:solidFill>
              <a:latin typeface="Times New Roman" panose="02020603050405020304" pitchFamily="18" charset="0"/>
              <a:ea typeface="+mn-ea"/>
              <a:cs typeface="+mn-cs"/>
            </a:rPr>
            <a:t>4</a:t>
          </a:r>
        </a:p>
      </dgm:t>
    </dgm:pt>
    <dgm:pt modelId="{6F0CD08A-C498-4E17-88C3-1D1175F05039}" type="sibTrans" cxnId="{F2316B1A-A28B-4982-B678-722CAA864769}">
      <dgm:prSet/>
      <dgm:spPr/>
      <dgm:t>
        <a:bodyPr/>
        <a:lstStyle/>
        <a:p>
          <a:endParaRPr lang="en-US" sz="2400"/>
        </a:p>
      </dgm:t>
    </dgm:pt>
    <dgm:pt modelId="{7049913E-CA72-4D04-86E8-DB4D4A7E415E}" type="parTrans" cxnId="{F2316B1A-A28B-4982-B678-722CAA864769}">
      <dgm:prSet/>
      <dgm:spPr/>
      <dgm:t>
        <a:bodyPr/>
        <a:lstStyle/>
        <a:p>
          <a:endParaRPr lang="en-US" sz="2400"/>
        </a:p>
      </dgm:t>
    </dgm:pt>
    <dgm:pt modelId="{26B0BA9D-614C-480C-BAE7-54DD0713D807}">
      <dgm:prSet custT="1"/>
      <dgm:spPr/>
      <dgm:t>
        <a:bodyPr/>
        <a:lstStyle/>
        <a:p>
          <a:pPr marL="119063" indent="0">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Chuyển biến về chỉ đạo, điều hành phát triển kinh tế - xã hội bằng các chỉ tiêu, số liệu, kịch bản cụ thể còn chậm. Công tác cải cách hành chính và giải quyết thủ tục hành chính của một số đơn vị còn hạn chế, vẫn còn tình trạng giải quyết hồ sơ thủ tục hành chính trễ hẹn</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FAFD5FB1-D6BF-4ECC-BE0E-00CCD2DCA912}" type="parTrans" cxnId="{FFA947C3-F64C-4C59-8D57-274EA083D7F8}">
      <dgm:prSet/>
      <dgm:spPr/>
      <dgm:t>
        <a:bodyPr/>
        <a:lstStyle/>
        <a:p>
          <a:endParaRPr lang="vi-VN"/>
        </a:p>
      </dgm:t>
    </dgm:pt>
    <dgm:pt modelId="{862CD1E3-1E3A-4BFA-B925-B79599463B04}" type="sibTrans" cxnId="{FFA947C3-F64C-4C59-8D57-274EA083D7F8}">
      <dgm:prSet/>
      <dgm:spPr/>
      <dgm:t>
        <a:bodyPr/>
        <a:lstStyle/>
        <a:p>
          <a:endParaRPr lang="vi-VN"/>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3">
        <dgm:presLayoutVars>
          <dgm:chMax val="1"/>
          <dgm:bulletEnabled val="1"/>
        </dgm:presLayoutVars>
      </dgm:prSet>
      <dgm:spPr/>
    </dgm:pt>
    <dgm:pt modelId="{9770188F-3220-4119-9599-0FD33E998D96}" type="pres">
      <dgm:prSet presAssocID="{CE531857-95D9-4450-A523-F1CA7AE880F1}" presName="descendantText" presStyleLbl="alignAcc1" presStyleIdx="0" presStyleCnt="3" custScaleY="102319">
        <dgm:presLayoutVars>
          <dgm:bulletEnabled val="1"/>
        </dgm:presLayoutVars>
      </dgm:prSet>
      <dgm:spPr/>
    </dgm:pt>
    <dgm:pt modelId="{7F4255E7-FA3E-4176-8361-F3068433BD36}" type="pres">
      <dgm:prSet presAssocID="{6F0CD08A-C498-4E17-88C3-1D1175F05039}" presName="sp" presStyleCnt="0"/>
      <dgm:spPr/>
    </dgm:pt>
    <dgm:pt modelId="{3BBCF80C-1C5A-4E7C-9AEB-9CED7401372A}" type="pres">
      <dgm:prSet presAssocID="{A7386FF2-7645-4D23-B0F9-6007E0C1E811}" presName="composite" presStyleCnt="0"/>
      <dgm:spPr/>
    </dgm:pt>
    <dgm:pt modelId="{8817F595-0CBF-4A67-B220-01C4FEDE7BDC}" type="pres">
      <dgm:prSet presAssocID="{A7386FF2-7645-4D23-B0F9-6007E0C1E811}" presName="parentText" presStyleLbl="alignNode1" presStyleIdx="1" presStyleCnt="3" custLinFactNeighborX="-18647" custLinFactNeighborY="0">
        <dgm:presLayoutVars>
          <dgm:chMax val="1"/>
          <dgm:bulletEnabled val="1"/>
        </dgm:presLayoutVars>
      </dgm:prSet>
      <dgm:spPr/>
    </dgm:pt>
    <dgm:pt modelId="{4255E3A5-4AA0-4157-8323-82B22B7EADFB}" type="pres">
      <dgm:prSet presAssocID="{A7386FF2-7645-4D23-B0F9-6007E0C1E811}" presName="descendantText" presStyleLbl="alignAcc1" presStyleIdx="1" presStyleCnt="3" custScaleY="107272">
        <dgm:presLayoutVars>
          <dgm:bulletEnabled val="1"/>
        </dgm:presLayoutVars>
      </dgm:prSet>
      <dgm:spPr/>
    </dgm:pt>
    <dgm:pt modelId="{9D3C89EB-9A8B-4F91-8361-3A2CDCD7AAF7}" type="pres">
      <dgm:prSet presAssocID="{329DC56E-BCA0-439F-97D5-401C1BAADBF3}" presName="sp" presStyleCnt="0"/>
      <dgm:spPr/>
    </dgm:pt>
    <dgm:pt modelId="{5423CB44-DD32-493E-B472-15821541BEC9}" type="pres">
      <dgm:prSet presAssocID="{E6A2034F-737E-4B56-A2AD-3C8BF456CAA3}" presName="composite" presStyleCnt="0"/>
      <dgm:spPr/>
    </dgm:pt>
    <dgm:pt modelId="{8C77F59C-EAEA-4787-A756-92A36C2F3EF3}" type="pres">
      <dgm:prSet presAssocID="{E6A2034F-737E-4B56-A2AD-3C8BF456CAA3}" presName="parentText" presStyleLbl="alignNode1" presStyleIdx="2" presStyleCnt="3">
        <dgm:presLayoutVars>
          <dgm:chMax val="1"/>
          <dgm:bulletEnabled val="1"/>
        </dgm:presLayoutVars>
      </dgm:prSet>
      <dgm:spPr/>
    </dgm:pt>
    <dgm:pt modelId="{CC0D3A42-5817-497B-84F6-E51D67B8C371}" type="pres">
      <dgm:prSet presAssocID="{E6A2034F-737E-4B56-A2AD-3C8BF456CAA3}" presName="descendantText" presStyleLbl="alignAcc1" presStyleIdx="2" presStyleCnt="3" custScaleY="106374">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73926604-2399-4B18-9624-214CE14DC960}" type="presOf" srcId="{A7386FF2-7645-4D23-B0F9-6007E0C1E811}" destId="{8817F595-0CBF-4A67-B220-01C4FEDE7BDC}"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CC62CC25-3E9A-4E84-B19E-88CEC338CBEE}" type="presOf" srcId="{26B0BA9D-614C-480C-BAE7-54DD0713D807}" destId="{CC0D3A42-5817-497B-84F6-E51D67B8C371}" srcOrd="0" destOrd="0" presId="urn:microsoft.com/office/officeart/2005/8/layout/chevron2"/>
    <dgm:cxn modelId="{1C43745D-04AC-4B24-BC00-2721C9B548C9}" srcId="{011C79E0-B116-4E55-8C54-A2CE86D2A740}" destId="{E6A2034F-737E-4B56-A2AD-3C8BF456CAA3}" srcOrd="2" destOrd="0" parTransId="{BB0DD9AF-7B23-48C1-BAE7-E9182D24F122}" sibTransId="{D476F38B-96B4-4EA2-99D2-CFAE89DD5384}"/>
    <dgm:cxn modelId="{F6F21B5F-805D-47EE-B61E-19025C7301DD}" srcId="{011C79E0-B116-4E55-8C54-A2CE86D2A740}" destId="{A7386FF2-7645-4D23-B0F9-6007E0C1E811}" srcOrd="1" destOrd="0" parTransId="{23012206-C222-4098-A1DA-A5F7998DC7B1}" sibTransId="{329DC56E-BCA0-439F-97D5-401C1BAADBF3}"/>
    <dgm:cxn modelId="{1AEC976A-AAB3-41FE-9C9B-18B34AE455B4}" type="presOf" srcId="{E6A2034F-737E-4B56-A2AD-3C8BF456CAA3}" destId="{8C77F59C-EAEA-4787-A756-92A36C2F3EF3}" srcOrd="0" destOrd="0" presId="urn:microsoft.com/office/officeart/2005/8/layout/chevron2"/>
    <dgm:cxn modelId="{2009CA93-5119-4D6D-8BCD-CCED3CA865B5}" srcId="{A7386FF2-7645-4D23-B0F9-6007E0C1E811}" destId="{9852772B-B489-4533-8CE3-26D80FB12247}" srcOrd="0" destOrd="0" parTransId="{C8E3A400-78EA-46BD-A414-1AA4FAF461D0}" sibTransId="{14F10B28-29A1-4E73-BA74-A1E0E33F15E2}"/>
    <dgm:cxn modelId="{C03E96B2-9383-46C3-8FD9-D52B5DE5C242}" srcId="{CE531857-95D9-4450-A523-F1CA7AE880F1}" destId="{1ED316F6-B184-4B6B-85AB-C4A397F59195}" srcOrd="0" destOrd="0" parTransId="{CD8C3E01-036F-49B6-8DFD-E7EF8ADFCD9F}" sibTransId="{7843BD3E-2CD9-41DE-8FCB-D56CAB9B6543}"/>
    <dgm:cxn modelId="{FFA947C3-F64C-4C59-8D57-274EA083D7F8}" srcId="{E6A2034F-737E-4B56-A2AD-3C8BF456CAA3}" destId="{26B0BA9D-614C-480C-BAE7-54DD0713D807}" srcOrd="0" destOrd="0" parTransId="{FAFD5FB1-D6BF-4ECC-BE0E-00CCD2DCA912}" sibTransId="{862CD1E3-1E3A-4BFA-B925-B79599463B04}"/>
    <dgm:cxn modelId="{286C87D9-67EA-4092-B7E2-142D8666B669}" type="presOf" srcId="{9852772B-B489-4533-8CE3-26D80FB12247}" destId="{4255E3A5-4AA0-4157-8323-82B22B7EADFB}"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9F4D7FF2-1FA7-4EB2-B0DD-F0EE12EEEB1E}" type="presOf" srcId="{1ED316F6-B184-4B6B-85AB-C4A397F59195}" destId="{9770188F-3220-4119-9599-0FD33E998D9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3636236C-E108-4A67-BCA5-F2B670D4E2DE}" type="presParOf" srcId="{710DA7AD-DF2E-4B6F-8F66-B72A755643A6}" destId="{3BBCF80C-1C5A-4E7C-9AEB-9CED7401372A}" srcOrd="2" destOrd="0" presId="urn:microsoft.com/office/officeart/2005/8/layout/chevron2"/>
    <dgm:cxn modelId="{3F3FACEB-7143-4FD4-8F4E-3B1A9FF3B8C4}" type="presParOf" srcId="{3BBCF80C-1C5A-4E7C-9AEB-9CED7401372A}" destId="{8817F595-0CBF-4A67-B220-01C4FEDE7BDC}" srcOrd="0" destOrd="0" presId="urn:microsoft.com/office/officeart/2005/8/layout/chevron2"/>
    <dgm:cxn modelId="{CA11A5AC-B046-4168-BB1F-CF97CD1233E2}" type="presParOf" srcId="{3BBCF80C-1C5A-4E7C-9AEB-9CED7401372A}" destId="{4255E3A5-4AA0-4157-8323-82B22B7EADFB}" srcOrd="1" destOrd="0" presId="urn:microsoft.com/office/officeart/2005/8/layout/chevron2"/>
    <dgm:cxn modelId="{E23333E1-EF29-4503-AF3D-031231F6B24E}" type="presParOf" srcId="{710DA7AD-DF2E-4B6F-8F66-B72A755643A6}" destId="{9D3C89EB-9A8B-4F91-8361-3A2CDCD7AAF7}" srcOrd="3" destOrd="0" presId="urn:microsoft.com/office/officeart/2005/8/layout/chevron2"/>
    <dgm:cxn modelId="{6BFFDD5B-8CE4-4E42-BF8A-CE7F32131FFF}" type="presParOf" srcId="{710DA7AD-DF2E-4B6F-8F66-B72A755643A6}" destId="{5423CB44-DD32-493E-B472-15821541BEC9}" srcOrd="4" destOrd="0" presId="urn:microsoft.com/office/officeart/2005/8/layout/chevron2"/>
    <dgm:cxn modelId="{FC2C4A7E-3E4A-486E-8894-0BB803B39B75}" type="presParOf" srcId="{5423CB44-DD32-493E-B472-15821541BEC9}" destId="{8C77F59C-EAEA-4787-A756-92A36C2F3EF3}" srcOrd="0" destOrd="0" presId="urn:microsoft.com/office/officeart/2005/8/layout/chevron2"/>
    <dgm:cxn modelId="{B6E46E4D-1DFA-437A-B4B3-4D2C1CC35C00}" type="presParOf" srcId="{5423CB44-DD32-493E-B472-15821541BEC9}" destId="{CC0D3A42-5817-497B-84F6-E51D67B8C371}"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2" qsCatId="simple" csTypeId="urn:microsoft.com/office/officeart/2005/8/colors/accent1_2" csCatId="accent1" phldr="1"/>
      <dgm:spPr/>
      <dgm:t>
        <a:bodyPr/>
        <a:lstStyle/>
        <a:p>
          <a:endParaRPr lang="en-US"/>
        </a:p>
      </dgm:t>
    </dgm:pt>
    <dgm:pt modelId="{1ED316F6-B184-4B6B-85AB-C4A397F59195}">
      <dgm:prSet custT="1"/>
      <dgm:spPr/>
      <dgm:t>
        <a:bodyPr/>
        <a:lstStyle/>
        <a:p>
          <a:pPr marL="119063" indent="0">
            <a:buFontTx/>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iệc triển khai công tác chuyển đổi vị trí công tác đối với cán bộ, công chức, viên chức còn chậm, nhất là chuyển đổi vị trí công tác đối với công chức cấp xã qua lại giữa các địa phương trong cùng địa bàn cấp huyện, nhiều địa phương chưa thực sự quan tâm xây dựng kế hoạch triển khai thực hiện chuyển đổi vị trí công tác</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gm:t>
    </dgm:pt>
    <dgm:pt modelId="{CD8C3E01-036F-49B6-8DFD-E7EF8ADFCD9F}" type="parTrans" cxnId="{C03E96B2-9383-46C3-8FD9-D52B5DE5C242}">
      <dgm:prSet/>
      <dgm:spPr/>
      <dgm:t>
        <a:bodyPr/>
        <a:lstStyle/>
        <a:p>
          <a:endParaRPr lang="en-US"/>
        </a:p>
      </dgm:t>
    </dgm:pt>
    <dgm:pt modelId="{7843BD3E-2CD9-41DE-8FCB-D56CAB9B6543}" type="sibTrans" cxnId="{C03E96B2-9383-46C3-8FD9-D52B5DE5C242}">
      <dgm:prSet/>
      <dgm:spPr/>
      <dgm:t>
        <a:bodyPr/>
        <a:lstStyle/>
        <a:p>
          <a:endParaRPr lang="en-US"/>
        </a:p>
      </dgm:t>
    </dgm:pt>
    <dgm:pt modelId="{A7386FF2-7645-4D23-B0F9-6007E0C1E811}">
      <dgm:prSet custT="1"/>
      <dgm:spPr/>
      <dgm:t>
        <a:bodyPr/>
        <a:lstStyle/>
        <a:p>
          <a:pPr marL="119063" indent="0"/>
          <a:r>
            <a:rPr lang="vi-VN" sz="4000">
              <a:latin typeface="+mj-lt"/>
            </a:rPr>
            <a:t>8</a:t>
          </a:r>
          <a:endParaRPr lang="en-US" sz="4000">
            <a:latin typeface="+mj-lt"/>
          </a:endParaRPr>
        </a:p>
      </dgm:t>
    </dgm:pt>
    <dgm:pt modelId="{23012206-C222-4098-A1DA-A5F7998DC7B1}" type="parTrans" cxnId="{F6F21B5F-805D-47EE-B61E-19025C7301DD}">
      <dgm:prSet/>
      <dgm:spPr/>
      <dgm:t>
        <a:bodyPr/>
        <a:lstStyle/>
        <a:p>
          <a:endParaRPr lang="vi-VN"/>
        </a:p>
      </dgm:t>
    </dgm:pt>
    <dgm:pt modelId="{329DC56E-BCA0-439F-97D5-401C1BAADBF3}" type="sibTrans" cxnId="{F6F21B5F-805D-47EE-B61E-19025C7301DD}">
      <dgm:prSet/>
      <dgm:spPr/>
      <dgm:t>
        <a:bodyPr/>
        <a:lstStyle/>
        <a:p>
          <a:endParaRPr lang="vi-VN"/>
        </a:p>
      </dgm:t>
    </dgm:pt>
    <dgm:pt modelId="{9852772B-B489-4533-8CE3-26D80FB12247}">
      <dgm:prSet custT="1"/>
      <dgm:spPr/>
      <dgm:t>
        <a:bodyPr/>
        <a:lstStyle/>
        <a:p>
          <a:pPr marL="119063" indent="0">
            <a:buNone/>
          </a:pPr>
          <a:r>
            <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ình hình an ninh trật tự trên địa bàn có lúc, có nơi còn diễn biến phức tạp. Một số đơn vị, địa phương chỉ đạo xử lý, giải quyết đơn thư khiếu nại, tố cáo còn chưa kịp thời, quyết liệt...</a:t>
          </a:r>
        </a:p>
      </dgm:t>
    </dgm:pt>
    <dgm:pt modelId="{C8E3A400-78EA-46BD-A414-1AA4FAF461D0}" type="parTrans" cxnId="{2009CA93-5119-4D6D-8BCD-CCED3CA865B5}">
      <dgm:prSet/>
      <dgm:spPr/>
      <dgm:t>
        <a:bodyPr/>
        <a:lstStyle/>
        <a:p>
          <a:endParaRPr lang="vi-VN"/>
        </a:p>
      </dgm:t>
    </dgm:pt>
    <dgm:pt modelId="{14F10B28-29A1-4E73-BA74-A1E0E33F15E2}" type="sibTrans" cxnId="{2009CA93-5119-4D6D-8BCD-CCED3CA865B5}">
      <dgm:prSet/>
      <dgm:spPr/>
      <dgm:t>
        <a:bodyPr/>
        <a:lstStyle/>
        <a:p>
          <a:endParaRPr lang="vi-VN"/>
        </a:p>
      </dgm:t>
    </dgm:pt>
    <dgm:pt modelId="{CE531857-95D9-4450-A523-F1CA7AE880F1}">
      <dgm:prSet phldrT="[Text]" custT="1"/>
      <dgm:spPr/>
      <dgm:t>
        <a:bodyPr/>
        <a:lstStyle/>
        <a:p>
          <a:pPr marL="119063" lvl="0" indent="0" algn="ctr" defTabSz="1778000">
            <a:lnSpc>
              <a:spcPct val="90000"/>
            </a:lnSpc>
            <a:spcBef>
              <a:spcPct val="0"/>
            </a:spcBef>
            <a:spcAft>
              <a:spcPct val="35000"/>
            </a:spcAft>
            <a:buNone/>
          </a:pPr>
          <a:r>
            <a:rPr lang="en-US" sz="4000" kern="1200">
              <a:solidFill>
                <a:prstClr val="white"/>
              </a:solidFill>
              <a:latin typeface="Times New Roman" panose="02020603050405020304" pitchFamily="18" charset="0"/>
              <a:ea typeface="+mn-ea"/>
              <a:cs typeface="+mn-cs"/>
            </a:rPr>
            <a:t>7</a:t>
          </a:r>
        </a:p>
      </dgm:t>
    </dgm:pt>
    <dgm:pt modelId="{6F0CD08A-C498-4E17-88C3-1D1175F05039}" type="sibTrans" cxnId="{F2316B1A-A28B-4982-B678-722CAA864769}">
      <dgm:prSet/>
      <dgm:spPr/>
      <dgm:t>
        <a:bodyPr/>
        <a:lstStyle/>
        <a:p>
          <a:endParaRPr lang="en-US" sz="2400"/>
        </a:p>
      </dgm:t>
    </dgm:pt>
    <dgm:pt modelId="{7049913E-CA72-4D04-86E8-DB4D4A7E415E}" type="parTrans" cxnId="{F2316B1A-A28B-4982-B678-722CAA864769}">
      <dgm:prSet/>
      <dgm:spPr/>
      <dgm:t>
        <a:bodyPr/>
        <a:lstStyle/>
        <a:p>
          <a:endParaRPr lang="en-US" sz="2400"/>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2">
        <dgm:presLayoutVars>
          <dgm:chMax val="1"/>
          <dgm:bulletEnabled val="1"/>
        </dgm:presLayoutVars>
      </dgm:prSet>
      <dgm:spPr/>
    </dgm:pt>
    <dgm:pt modelId="{9770188F-3220-4119-9599-0FD33E998D96}" type="pres">
      <dgm:prSet presAssocID="{CE531857-95D9-4450-A523-F1CA7AE880F1}" presName="descendantText" presStyleLbl="alignAcc1" presStyleIdx="0" presStyleCnt="2" custScaleY="102319">
        <dgm:presLayoutVars>
          <dgm:bulletEnabled val="1"/>
        </dgm:presLayoutVars>
      </dgm:prSet>
      <dgm:spPr/>
    </dgm:pt>
    <dgm:pt modelId="{7F4255E7-FA3E-4176-8361-F3068433BD36}" type="pres">
      <dgm:prSet presAssocID="{6F0CD08A-C498-4E17-88C3-1D1175F05039}" presName="sp" presStyleCnt="0"/>
      <dgm:spPr/>
    </dgm:pt>
    <dgm:pt modelId="{3BBCF80C-1C5A-4E7C-9AEB-9CED7401372A}" type="pres">
      <dgm:prSet presAssocID="{A7386FF2-7645-4D23-B0F9-6007E0C1E811}" presName="composite" presStyleCnt="0"/>
      <dgm:spPr/>
    </dgm:pt>
    <dgm:pt modelId="{8817F595-0CBF-4A67-B220-01C4FEDE7BDC}" type="pres">
      <dgm:prSet presAssocID="{A7386FF2-7645-4D23-B0F9-6007E0C1E811}" presName="parentText" presStyleLbl="alignNode1" presStyleIdx="1" presStyleCnt="2" custLinFactNeighborX="-18647" custLinFactNeighborY="0">
        <dgm:presLayoutVars>
          <dgm:chMax val="1"/>
          <dgm:bulletEnabled val="1"/>
        </dgm:presLayoutVars>
      </dgm:prSet>
      <dgm:spPr/>
    </dgm:pt>
    <dgm:pt modelId="{4255E3A5-4AA0-4157-8323-82B22B7EADFB}" type="pres">
      <dgm:prSet presAssocID="{A7386FF2-7645-4D23-B0F9-6007E0C1E811}" presName="descendantText" presStyleLbl="alignAcc1" presStyleIdx="1" presStyleCnt="2" custScaleY="10205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73926604-2399-4B18-9624-214CE14DC960}" type="presOf" srcId="{A7386FF2-7645-4D23-B0F9-6007E0C1E811}" destId="{8817F595-0CBF-4A67-B220-01C4FEDE7BDC}"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F6F21B5F-805D-47EE-B61E-19025C7301DD}" srcId="{011C79E0-B116-4E55-8C54-A2CE86D2A740}" destId="{A7386FF2-7645-4D23-B0F9-6007E0C1E811}" srcOrd="1" destOrd="0" parTransId="{23012206-C222-4098-A1DA-A5F7998DC7B1}" sibTransId="{329DC56E-BCA0-439F-97D5-401C1BAADBF3}"/>
    <dgm:cxn modelId="{2009CA93-5119-4D6D-8BCD-CCED3CA865B5}" srcId="{A7386FF2-7645-4D23-B0F9-6007E0C1E811}" destId="{9852772B-B489-4533-8CE3-26D80FB12247}" srcOrd="0" destOrd="0" parTransId="{C8E3A400-78EA-46BD-A414-1AA4FAF461D0}" sibTransId="{14F10B28-29A1-4E73-BA74-A1E0E33F15E2}"/>
    <dgm:cxn modelId="{C03E96B2-9383-46C3-8FD9-D52B5DE5C242}" srcId="{CE531857-95D9-4450-A523-F1CA7AE880F1}" destId="{1ED316F6-B184-4B6B-85AB-C4A397F59195}" srcOrd="0" destOrd="0" parTransId="{CD8C3E01-036F-49B6-8DFD-E7EF8ADFCD9F}" sibTransId="{7843BD3E-2CD9-41DE-8FCB-D56CAB9B6543}"/>
    <dgm:cxn modelId="{286C87D9-67EA-4092-B7E2-142D8666B669}" type="presOf" srcId="{9852772B-B489-4533-8CE3-26D80FB12247}" destId="{4255E3A5-4AA0-4157-8323-82B22B7EADFB}"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9F4D7FF2-1FA7-4EB2-B0DD-F0EE12EEEB1E}" type="presOf" srcId="{1ED316F6-B184-4B6B-85AB-C4A397F59195}" destId="{9770188F-3220-4119-9599-0FD33E998D9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 modelId="{23860E25-CD8C-4AC1-B68A-FB25A91BC140}" type="presParOf" srcId="{710DA7AD-DF2E-4B6F-8F66-B72A755643A6}" destId="{7F4255E7-FA3E-4176-8361-F3068433BD36}" srcOrd="1" destOrd="0" presId="urn:microsoft.com/office/officeart/2005/8/layout/chevron2"/>
    <dgm:cxn modelId="{3636236C-E108-4A67-BCA5-F2B670D4E2DE}" type="presParOf" srcId="{710DA7AD-DF2E-4B6F-8F66-B72A755643A6}" destId="{3BBCF80C-1C5A-4E7C-9AEB-9CED7401372A}" srcOrd="2" destOrd="0" presId="urn:microsoft.com/office/officeart/2005/8/layout/chevron2"/>
    <dgm:cxn modelId="{3F3FACEB-7143-4FD4-8F4E-3B1A9FF3B8C4}" type="presParOf" srcId="{3BBCF80C-1C5A-4E7C-9AEB-9CED7401372A}" destId="{8817F595-0CBF-4A67-B220-01C4FEDE7BDC}" srcOrd="0" destOrd="0" presId="urn:microsoft.com/office/officeart/2005/8/layout/chevron2"/>
    <dgm:cxn modelId="{CA11A5AC-B046-4168-BB1F-CF97CD1233E2}" type="presParOf" srcId="{3BBCF80C-1C5A-4E7C-9AEB-9CED7401372A}" destId="{4255E3A5-4AA0-4157-8323-82B22B7EADFB}"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dirty="0"/>
            <a:t>1</a:t>
          </a:r>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200" b="1" i="0" kern="1200">
              <a:latin typeface="Times New Roman" panose="02020603050405020304" pitchFamily="18" charset="0"/>
              <a:cs typeface="Times New Roman" panose="02020603050405020304" pitchFamily="18" charset="0"/>
            </a:rPr>
            <a:t>Sản xuất</a:t>
          </a:r>
          <a:r>
            <a:rPr lang="it-IT" sz="3200" b="1" i="0" kern="1200">
              <a:latin typeface="Times New Roman" panose="02020603050405020304" pitchFamily="18" charset="0"/>
              <a:cs typeface="Times New Roman" panose="02020603050405020304" pitchFamily="18" charset="0"/>
            </a:rPr>
            <a:t> nông, lâm, </a:t>
          </a:r>
          <a:r>
            <a:rPr lang="vi-VN" sz="3200" b="1" i="0" kern="1200">
              <a:latin typeface="Times New Roman" panose="02020603050405020304" pitchFamily="18" charset="0"/>
              <a:cs typeface="Times New Roman" panose="02020603050405020304" pitchFamily="18" charset="0"/>
            </a:rPr>
            <a:t>thủy sản, quản lý tài nguyên, môi trường</a:t>
          </a:r>
          <a:endParaRPr lang="en-US" sz="3200" b="1" kern="1200" dirty="0">
            <a:latin typeface="Times New Roman" panose="02020603050405020304" pitchFamily="18" charset="0"/>
            <a:cs typeface="Times New Roman" panose="02020603050405020304" pitchFamily="18" charset="0"/>
          </a:endParaRPr>
        </a:p>
      </dgm:t>
    </dgm:pt>
    <dgm:pt modelId="{8C5248B0-CF95-46B9-B3DF-5903DA7BE923}" type="parTrans" cxnId="{151F138B-8227-4665-BD22-1724EE04FEC3}">
      <dgm:prSet/>
      <dgm:spPr/>
      <dgm:t>
        <a:bodyPr/>
        <a:lstStyle/>
        <a:p>
          <a:endParaRPr lang="en-US"/>
        </a:p>
      </dgm:t>
    </dgm:pt>
    <dgm:pt modelId="{932BBA9B-3838-4105-B5F8-F779936A7798}" type="sib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r>
            <a:rPr lang="en-US" sz="2800"/>
            <a:t>2</a:t>
          </a:r>
          <a:endParaRPr lang="en-US" sz="2800"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i="0" kern="1200">
              <a:latin typeface="Times New Roman" panose="02020603050405020304" pitchFamily="18" charset="0"/>
              <a:cs typeface="Times New Roman" panose="02020603050405020304" pitchFamily="18" charset="0"/>
            </a:rPr>
            <a:t>Công nghiệp – Xây dựng</a:t>
          </a:r>
          <a:endParaRPr lang="en-US" sz="28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2</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i="0" kern="1200" dirty="0">
              <a:latin typeface="Times New Roman" panose="02020603050405020304" pitchFamily="18" charset="0"/>
              <a:cs typeface="Times New Roman" panose="02020603050405020304" pitchFamily="18" charset="0"/>
            </a:rPr>
            <a:t>Công nghiệp – Xây dựng</a:t>
          </a:r>
          <a:endParaRPr lang="en-US" sz="24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X="-81387" custLinFactNeighborX="-100000" custLinFactNeighborY="-709">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ScaleX="53536" custLinFactNeighborX="-24756" custLinFactNeighborY="-109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2</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i="0" kern="1200">
              <a:latin typeface="Times New Roman" panose="02020603050405020304" pitchFamily="18" charset="0"/>
              <a:cs typeface="Times New Roman" panose="02020603050405020304" pitchFamily="18" charset="0"/>
            </a:rPr>
            <a:t>Công nghiệp – xây dựng</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2</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200" b="1" i="0" kern="1200">
              <a:latin typeface="Times New Roman" panose="02020603050405020304" pitchFamily="18" charset="0"/>
              <a:cs typeface="Times New Roman" panose="02020603050405020304" pitchFamily="18" charset="0"/>
            </a:rPr>
            <a:t>Công nghiệp – xây dựng</a:t>
          </a:r>
          <a:endParaRPr lang="en-US" sz="32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dgm:presLayoutVars>
          <dgm:bulletEnabled val="1"/>
        </dgm:presLayoutVars>
      </dgm:prSet>
      <dgm:spPr/>
    </dgm:pt>
  </dgm:ptLst>
  <dgm:cxnLst>
    <dgm:cxn modelId="{B4041E00-CB72-4917-AC83-D94A70BCF591}"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EA423C27-C57A-4184-952C-A2AC598E1694}" type="presOf" srcId="{CE531857-95D9-4450-A523-F1CA7AE880F1}" destId="{E5F4221C-3B75-4195-B6B0-6C7247B30852}" srcOrd="0" destOrd="0" presId="urn:microsoft.com/office/officeart/2005/8/layout/chevron2"/>
    <dgm:cxn modelId="{D543348A-B925-4B0C-BB29-8E3C71FE1FF5}" type="presOf" srcId="{011C79E0-B116-4E55-8C54-A2CE86D2A740}" destId="{710DA7AD-DF2E-4B6F-8F66-B72A755643A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38962789-E8B8-4FFD-B7DB-502C5E691246}" type="presParOf" srcId="{710DA7AD-DF2E-4B6F-8F66-B72A755643A6}" destId="{E56F3C40-8FB1-476F-A6D3-68C8D2629BA9}" srcOrd="0" destOrd="0" presId="urn:microsoft.com/office/officeart/2005/8/layout/chevron2"/>
    <dgm:cxn modelId="{CA73E829-1403-44F3-AA8D-A6B3F4C7BAAC}" type="presParOf" srcId="{E56F3C40-8FB1-476F-A6D3-68C8D2629BA9}" destId="{E5F4221C-3B75-4195-B6B0-6C7247B30852}" srcOrd="0" destOrd="0" presId="urn:microsoft.com/office/officeart/2005/8/layout/chevron2"/>
    <dgm:cxn modelId="{E103F85C-A9DA-47DD-B35A-AF484FB4AD4F}"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dgm:spPr/>
      <dgm:t>
        <a:bodyPr/>
        <a:lstStyle/>
        <a:p>
          <a:r>
            <a:rPr lang="en-US"/>
            <a:t>3</a:t>
          </a:r>
          <a:endParaRPr lang="en-US" dirty="0"/>
        </a:p>
      </dgm:t>
    </dgm:pt>
    <dgm:pt modelId="{7049913E-CA72-4D04-86E8-DB4D4A7E415E}" type="parTrans" cxnId="{F2316B1A-A28B-4982-B678-722CAA864769}">
      <dgm:prSet/>
      <dgm:spPr/>
      <dgm:t>
        <a:bodyPr/>
        <a:lstStyle/>
        <a:p>
          <a:endParaRPr lang="en-US"/>
        </a:p>
      </dgm:t>
    </dgm:pt>
    <dgm:pt modelId="{6F0CD08A-C498-4E17-88C3-1D1175F05039}" type="sibTrans" cxnId="{F2316B1A-A28B-4982-B678-722CAA864769}">
      <dgm:prSet/>
      <dgm:spPr/>
      <dgm:t>
        <a:bodyPr/>
        <a:lstStyle/>
        <a:p>
          <a:endParaRPr lang="en-US"/>
        </a:p>
      </dgm:t>
    </dgm:pt>
    <dgm:pt modelId="{7158C417-01D3-4DA0-9415-16B3B3977CD1}">
      <dgm:prSet phldrT="[Text]" custT="1"/>
      <dgm:spPr>
        <a:solidFill>
          <a:schemeClr val="accent2">
            <a:lumMod val="20000"/>
            <a:lumOff val="80000"/>
            <a:alpha val="90000"/>
          </a:schemeClr>
        </a:solidFill>
      </dgm:spPr>
      <dgm:t>
        <a:bodyPr/>
        <a:lstStyle/>
        <a:p>
          <a:pPr>
            <a:buNone/>
          </a:pPr>
          <a:r>
            <a:rPr lang="vi-VN" sz="3600" b="1" kern="1200" dirty="0">
              <a:latin typeface="Times New Roman" panose="02020603050405020304" pitchFamily="18" charset="0"/>
              <a:cs typeface="Times New Roman" panose="02020603050405020304" pitchFamily="18" charset="0"/>
            </a:rPr>
            <a:t>Thương mại – dịch vụ</a:t>
          </a:r>
          <a:endParaRPr lang="en-US" sz="3600" b="1" kern="1200" dirty="0">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a:p>
      </dgm:t>
    </dgm:pt>
    <dgm:pt modelId="{8C5248B0-CF95-46B9-B3DF-5903DA7BE923}" type="parTrans" cxnId="{151F138B-8227-4665-BD22-1724EE04FEC3}">
      <dgm:prSet/>
      <dgm:spPr/>
      <dgm:t>
        <a:bodyPr/>
        <a:lstStyle/>
        <a:p>
          <a:endParaRPr lang="en-US"/>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X="-49688" custLinFactNeighborY="1345">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ScaleX="99648" custLinFactNeighborX="8902" custLinFactNeighborY="-14424">
        <dgm:presLayoutVars>
          <dgm:bulletEnabled val="1"/>
        </dgm:presLayoutVars>
      </dgm:prSet>
      <dgm:spPr/>
    </dgm:pt>
  </dgm:ptLst>
  <dgm:cxnLst>
    <dgm:cxn modelId="{F2316B1A-A28B-4982-B678-722CAA864769}" srcId="{011C79E0-B116-4E55-8C54-A2CE86D2A740}" destId="{CE531857-95D9-4450-A523-F1CA7AE880F1}" srcOrd="0" destOrd="0" parTransId="{7049913E-CA72-4D04-86E8-DB4D4A7E415E}" sibTransId="{6F0CD08A-C498-4E17-88C3-1D1175F05039}"/>
    <dgm:cxn modelId="{CE83D61E-0636-419E-BE24-6D5FA75D0A47}" type="presOf" srcId="{7158C417-01D3-4DA0-9415-16B3B3977CD1}" destId="{9770188F-3220-4119-9599-0FD33E998D96}" srcOrd="0" destOrd="0" presId="urn:microsoft.com/office/officeart/2005/8/layout/chevron2"/>
    <dgm:cxn modelId="{C0D2D61F-7C4A-452F-B4ED-AD374BC2801E}" type="presOf" srcId="{CE531857-95D9-4450-A523-F1CA7AE880F1}" destId="{E5F4221C-3B75-4195-B6B0-6C7247B30852}" srcOrd="0" destOrd="0" presId="urn:microsoft.com/office/officeart/2005/8/layout/chevron2"/>
    <dgm:cxn modelId="{FD007974-608A-4CB4-8965-929C1DB7F2CA}" type="presOf" srcId="{011C79E0-B116-4E55-8C54-A2CE86D2A740}" destId="{710DA7AD-DF2E-4B6F-8F66-B72A755643A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B1A685F3-33A2-43E3-97AD-2866B78062E6}" type="presParOf" srcId="{710DA7AD-DF2E-4B6F-8F66-B72A755643A6}" destId="{E56F3C40-8FB1-476F-A6D3-68C8D2629BA9}" srcOrd="0" destOrd="0" presId="urn:microsoft.com/office/officeart/2005/8/layout/chevron2"/>
    <dgm:cxn modelId="{76683BEE-0584-4E69-885E-72676090E08F}" type="presParOf" srcId="{E56F3C40-8FB1-476F-A6D3-68C8D2629BA9}" destId="{E5F4221C-3B75-4195-B6B0-6C7247B30852}" srcOrd="0" destOrd="0" presId="urn:microsoft.com/office/officeart/2005/8/layout/chevron2"/>
    <dgm:cxn modelId="{DE007F8B-FDD5-48C2-A9E0-C3CE01E737C1}"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82241" y="613985"/>
          <a:ext cx="1881612" cy="131712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1</a:t>
          </a:r>
        </a:p>
      </dsp:txBody>
      <dsp:txXfrm rot="-5400000">
        <a:off x="1" y="990307"/>
        <a:ext cx="1317128" cy="564484"/>
      </dsp:txXfrm>
    </dsp:sp>
    <dsp:sp modelId="{9770188F-3220-4119-9599-0FD33E998D96}">
      <dsp:nvSpPr>
        <dsp:cNvPr id="0" name=""/>
        <dsp:cNvSpPr/>
      </dsp:nvSpPr>
      <dsp:spPr>
        <a:xfrm rot="5400000">
          <a:off x="5411977" y="-4089616"/>
          <a:ext cx="1876714" cy="1006641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100000"/>
            </a:lnSpc>
            <a:spcBef>
              <a:spcPct val="0"/>
            </a:spcBef>
            <a:spcAft>
              <a:spcPts val="0"/>
            </a:spcAft>
            <a:buNone/>
          </a:pP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Sản xuất</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nông nghiệp </a:t>
          </a:r>
          <a:r>
            <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đầu năm gặp nhiều bất lợi do t</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hời tiết </a:t>
          </a: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diễn biến phức tạp, không theo quy </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luật</a:t>
          </a:r>
          <a:r>
            <a:rPr lang="es-E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vi-VN"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a:t>
          </a: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iệc tái đàn, phát triển vật nuôi trên địa bàn tỉnh còn gặp khó khăn, tình hình dịch bệnh trên đàn gia súc, gia cầm vẫn tiềm ẩn nguy cơ bùng phát; tình trạng phá rừng, khai thác rừng trái pháp luật và tàu cá vi phạm lãnh hải nước ngoài vẫn còn xảy ra</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1317129" y="96846"/>
        <a:ext cx="9974797" cy="1693486"/>
      </dsp:txXfrm>
    </dsp:sp>
    <dsp:sp modelId="{89164601-E0A1-4038-AED2-754D77EF4C41}">
      <dsp:nvSpPr>
        <dsp:cNvPr id="0" name=""/>
        <dsp:cNvSpPr/>
      </dsp:nvSpPr>
      <dsp:spPr>
        <a:xfrm rot="5400000">
          <a:off x="-282241" y="2632215"/>
          <a:ext cx="1881612" cy="131712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2</a:t>
          </a:r>
        </a:p>
      </dsp:txBody>
      <dsp:txXfrm rot="-5400000">
        <a:off x="1" y="3008537"/>
        <a:ext cx="1317128" cy="564484"/>
      </dsp:txXfrm>
    </dsp:sp>
    <dsp:sp modelId="{594D2AB4-91B5-4F18-9ACA-1D51E359B741}">
      <dsp:nvSpPr>
        <dsp:cNvPr id="0" name=""/>
        <dsp:cNvSpPr/>
      </dsp:nvSpPr>
      <dsp:spPr>
        <a:xfrm rot="5400000">
          <a:off x="5439218" y="-2071895"/>
          <a:ext cx="1822231" cy="1006641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100000"/>
            </a:lnSpc>
            <a:spcBef>
              <a:spcPct val="0"/>
            </a:spcBef>
            <a:spcAft>
              <a:spcPts val="0"/>
            </a:spcAft>
            <a:buNone/>
          </a:pPr>
          <a:r>
            <a:rPr lang="it-IT" sz="2400" kern="1200">
              <a:solidFill>
                <a:prstClr val="black">
                  <a:hueOff val="0"/>
                  <a:satOff val="0"/>
                  <a:lumOff val="0"/>
                  <a:alphaOff val="0"/>
                </a:prstClr>
              </a:solidFill>
              <a:latin typeface="Times New Roman" panose="02020603050405020304" pitchFamily="18" charset="0"/>
              <a:ea typeface="+mn-ea"/>
              <a:cs typeface="+mn-cs"/>
            </a:rPr>
            <a:t>Hoạt động sản xuất, kinh doanh, sản xuất công nghiệp, xuất khẩu… gặp nhiều khó khăn. </a:t>
          </a:r>
          <a:r>
            <a:rPr lang="es-ES" sz="2400" kern="1200">
              <a:solidFill>
                <a:prstClr val="black">
                  <a:hueOff val="0"/>
                  <a:satOff val="0"/>
                  <a:lumOff val="0"/>
                  <a:alphaOff val="0"/>
                </a:prstClr>
              </a:solidFill>
              <a:latin typeface="Times New Roman" panose="02020603050405020304" pitchFamily="18" charset="0"/>
              <a:ea typeface="+mn-ea"/>
              <a:cs typeface="+mn-cs"/>
            </a:rPr>
            <a:t>Nhiều doanh nghiệp gặp khó khăn trong huy động, tiếp cận vốn, chi phí sản xuất kinh doanh tăng, thị trường sản phẩm xuất khẩu bị thu hẹp</a:t>
          </a:r>
          <a:r>
            <a:rPr lang="it-IT" sz="2400" kern="1200">
              <a:solidFill>
                <a:prstClr val="black">
                  <a:hueOff val="0"/>
                  <a:satOff val="0"/>
                  <a:lumOff val="0"/>
                  <a:alphaOff val="0"/>
                </a:prstClr>
              </a:solidFill>
              <a:latin typeface="Times New Roman" panose="02020603050405020304" pitchFamily="18" charset="0"/>
              <a:ea typeface="+mn-ea"/>
              <a:cs typeface="+mn-cs"/>
            </a:rPr>
            <a:t>. Một số sản phẩm xuất khẩu chủ lực như gỗ, sản phẩm gỗ, dệt may, sản phẩm từ chất dẻo, hàng thủy sản... sụt giảm so với cùng kỳ</a:t>
          </a:r>
          <a:endParaRPr lang="en-US" sz="2400" kern="1200">
            <a:solidFill>
              <a:prstClr val="black">
                <a:hueOff val="0"/>
                <a:satOff val="0"/>
                <a:lumOff val="0"/>
                <a:alphaOff val="0"/>
              </a:prstClr>
            </a:solidFill>
            <a:latin typeface="Times New Roman" panose="02020603050405020304" pitchFamily="18" charset="0"/>
            <a:ea typeface="+mn-ea"/>
            <a:cs typeface="+mn-cs"/>
          </a:endParaRPr>
        </a:p>
      </dsp:txBody>
      <dsp:txXfrm rot="-5400000">
        <a:off x="1317128" y="2139149"/>
        <a:ext cx="9977457" cy="1644323"/>
      </dsp:txXfrm>
    </dsp:sp>
    <dsp:sp modelId="{3DA4DBDD-86BF-4DC6-9D99-05C1C1BFB383}">
      <dsp:nvSpPr>
        <dsp:cNvPr id="0" name=""/>
        <dsp:cNvSpPr/>
      </dsp:nvSpPr>
      <dsp:spPr>
        <a:xfrm rot="5400000">
          <a:off x="-266344" y="4218927"/>
          <a:ext cx="1881612" cy="131712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1778000">
            <a:lnSpc>
              <a:spcPct val="90000"/>
            </a:lnSpc>
            <a:spcBef>
              <a:spcPct val="0"/>
            </a:spcBef>
            <a:spcAft>
              <a:spcPct val="35000"/>
            </a:spcAft>
            <a:buNone/>
          </a:pPr>
          <a:r>
            <a:rPr lang="en-US" sz="4000" kern="1200"/>
            <a:t>3</a:t>
          </a:r>
        </a:p>
      </dsp:txBody>
      <dsp:txXfrm rot="-5400000">
        <a:off x="15898" y="4595249"/>
        <a:ext cx="1317128" cy="564484"/>
      </dsp:txXfrm>
    </dsp:sp>
    <dsp:sp modelId="{18D2B7CF-92DC-4C98-B7A8-681260E88B2C}">
      <dsp:nvSpPr>
        <dsp:cNvPr id="0" name=""/>
        <dsp:cNvSpPr/>
      </dsp:nvSpPr>
      <dsp:spPr>
        <a:xfrm rot="5400000">
          <a:off x="5702803" y="-394979"/>
          <a:ext cx="1295061" cy="1006641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just" defTabSz="1066800">
            <a:lnSpc>
              <a:spcPct val="90000"/>
            </a:lnSpc>
            <a:spcBef>
              <a:spcPct val="0"/>
            </a:spcBef>
            <a:spcAft>
              <a:spcPct val="15000"/>
            </a:spcAft>
            <a:buNone/>
          </a:pPr>
          <a:r>
            <a:rPr lang="it-IT" sz="2400" kern="1200" dirty="0">
              <a:solidFill>
                <a:prstClr val="black">
                  <a:hueOff val="0"/>
                  <a:satOff val="0"/>
                  <a:lumOff val="0"/>
                  <a:alphaOff val="0"/>
                </a:prstClr>
              </a:solidFill>
              <a:latin typeface="Times New Roman" panose="02020603050405020304" pitchFamily="18" charset="0"/>
              <a:ea typeface="+mn-ea"/>
              <a:cs typeface="+mn-cs"/>
            </a:rPr>
            <a:t>Công tác thu hút đầu tư, nhất là đầu tư nước ngoài còn hạn chế. Công tác bồi thường, giải phóng mặt bằng đối với một số công trình, </a:t>
          </a:r>
          <a:r>
            <a:rPr lang="it-IT" sz="2400" kern="1200">
              <a:solidFill>
                <a:prstClr val="black">
                  <a:hueOff val="0"/>
                  <a:satOff val="0"/>
                  <a:lumOff val="0"/>
                  <a:alphaOff val="0"/>
                </a:prstClr>
              </a:solidFill>
              <a:latin typeface="Times New Roman" panose="02020603050405020304" pitchFamily="18" charset="0"/>
              <a:ea typeface="+mn-ea"/>
              <a:cs typeface="+mn-cs"/>
            </a:rPr>
            <a:t>dự án còn </a:t>
          </a:r>
          <a:r>
            <a:rPr lang="it-IT" sz="2400" kern="1200" dirty="0">
              <a:solidFill>
                <a:prstClr val="black">
                  <a:hueOff val="0"/>
                  <a:satOff val="0"/>
                  <a:lumOff val="0"/>
                  <a:alphaOff val="0"/>
                </a:prstClr>
              </a:solidFill>
              <a:latin typeface="Times New Roman" panose="02020603050405020304" pitchFamily="18" charset="0"/>
              <a:ea typeface="+mn-ea"/>
              <a:cs typeface="+mn-cs"/>
            </a:rPr>
            <a:t>chậm</a:t>
          </a:r>
          <a:r>
            <a:rPr lang="vi-VN"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Một</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số</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ự</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á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ầu</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ư</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ự</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á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bất</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ộ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sả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lớ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bị</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ngư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rệ</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dừng</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đầu</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ư</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hoặc</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chậm</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triển</a:t>
          </a:r>
          <a:r>
            <a:rPr lang="en-US" sz="2400" kern="1200" dirty="0">
              <a:solidFill>
                <a:prstClr val="black">
                  <a:hueOff val="0"/>
                  <a:satOff val="0"/>
                  <a:lumOff val="0"/>
                  <a:alphaOff val="0"/>
                </a:prstClr>
              </a:solidFill>
              <a:latin typeface="Times New Roman" panose="02020603050405020304" pitchFamily="18" charset="0"/>
              <a:ea typeface="+mn-ea"/>
              <a:cs typeface="+mn-cs"/>
            </a:rPr>
            <a:t> </a:t>
          </a:r>
          <a:r>
            <a:rPr lang="en-US" sz="2400" kern="1200" dirty="0" err="1">
              <a:solidFill>
                <a:prstClr val="black">
                  <a:hueOff val="0"/>
                  <a:satOff val="0"/>
                  <a:lumOff val="0"/>
                  <a:alphaOff val="0"/>
                </a:prstClr>
              </a:solidFill>
              <a:latin typeface="Times New Roman" panose="02020603050405020304" pitchFamily="18" charset="0"/>
              <a:ea typeface="+mn-ea"/>
              <a:cs typeface="+mn-cs"/>
            </a:rPr>
            <a:t>khai</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dsp:txBody>
      <dsp:txXfrm rot="-5400000">
        <a:off x="1317128" y="4053916"/>
        <a:ext cx="10003191" cy="11686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7501" y="187501"/>
          <a:ext cx="1250007" cy="875004"/>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3</a:t>
          </a:r>
          <a:endParaRPr lang="en-US" sz="2400" kern="1200" dirty="0"/>
        </a:p>
      </dsp:txBody>
      <dsp:txXfrm rot="-5400000">
        <a:off x="1" y="437501"/>
        <a:ext cx="875004" cy="375003"/>
      </dsp:txXfrm>
    </dsp:sp>
    <dsp:sp modelId="{9770188F-3220-4119-9599-0FD33E998D96}">
      <dsp:nvSpPr>
        <dsp:cNvPr id="0" name=""/>
        <dsp:cNvSpPr/>
      </dsp:nvSpPr>
      <dsp:spPr>
        <a:xfrm rot="5400000">
          <a:off x="3881535" y="-2982588"/>
          <a:ext cx="812504" cy="6777681"/>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Thương mại – dịch vụ - du lịch</a:t>
          </a:r>
          <a:endParaRPr lang="en-US" sz="3600" b="1" kern="1200" dirty="0">
            <a:latin typeface="Times New Roman" panose="02020603050405020304" pitchFamily="18" charset="0"/>
            <a:cs typeface="Times New Roman" panose="02020603050405020304" pitchFamily="18" charset="0"/>
          </a:endParaRPr>
        </a:p>
      </dsp:txBody>
      <dsp:txXfrm rot="-5400000">
        <a:off x="898947" y="39663"/>
        <a:ext cx="6738018" cy="73317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7129" y="187129"/>
          <a:ext cx="1247532" cy="87327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4</a:t>
          </a:r>
          <a:endParaRPr lang="en-US" sz="2400" kern="1200" dirty="0"/>
        </a:p>
      </dsp:txBody>
      <dsp:txXfrm rot="-5400000">
        <a:off x="1" y="436635"/>
        <a:ext cx="873272" cy="374260"/>
      </dsp:txXfrm>
    </dsp:sp>
    <dsp:sp modelId="{9770188F-3220-4119-9599-0FD33E998D96}">
      <dsp:nvSpPr>
        <dsp:cNvPr id="0" name=""/>
        <dsp:cNvSpPr/>
      </dsp:nvSpPr>
      <dsp:spPr>
        <a:xfrm rot="5400000">
          <a:off x="2946712" y="-2073439"/>
          <a:ext cx="810895" cy="4957775"/>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i="0" kern="1200">
              <a:latin typeface="Times New Roman" panose="02020603050405020304" pitchFamily="18" charset="0"/>
              <a:cs typeface="Times New Roman" panose="02020603050405020304" pitchFamily="18" charset="0"/>
            </a:rPr>
            <a:t>Tài chính – ngân sách</a:t>
          </a:r>
          <a:endParaRPr lang="en-US" sz="3600" b="1" i="0" kern="1200" dirty="0">
            <a:latin typeface="Times New Roman" panose="02020603050405020304" pitchFamily="18" charset="0"/>
            <a:cs typeface="Times New Roman" panose="02020603050405020304" pitchFamily="18" charset="0"/>
          </a:endParaRPr>
        </a:p>
      </dsp:txBody>
      <dsp:txXfrm rot="-5400000">
        <a:off x="873273" y="39585"/>
        <a:ext cx="4918190" cy="7317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8739" y="188739"/>
          <a:ext cx="1258261" cy="88078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5</a:t>
          </a:r>
          <a:endParaRPr lang="en-US" sz="2400" kern="1200" dirty="0"/>
        </a:p>
      </dsp:txBody>
      <dsp:txXfrm rot="-5400000">
        <a:off x="1" y="440390"/>
        <a:ext cx="880782" cy="377479"/>
      </dsp:txXfrm>
    </dsp:sp>
    <dsp:sp modelId="{9770188F-3220-4119-9599-0FD33E998D96}">
      <dsp:nvSpPr>
        <dsp:cNvPr id="0" name=""/>
        <dsp:cNvSpPr/>
      </dsp:nvSpPr>
      <dsp:spPr>
        <a:xfrm rot="5400000">
          <a:off x="2485586" y="-1604803"/>
          <a:ext cx="817869" cy="402747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Đầu tư phát triển</a:t>
          </a:r>
          <a:endParaRPr lang="en-US" sz="3600" b="1" kern="1200" dirty="0">
            <a:latin typeface="Times New Roman" panose="02020603050405020304" pitchFamily="18" charset="0"/>
            <a:cs typeface="Times New Roman" panose="02020603050405020304" pitchFamily="18" charset="0"/>
          </a:endParaRPr>
        </a:p>
      </dsp:txBody>
      <dsp:txXfrm rot="-5400000">
        <a:off x="880783" y="39925"/>
        <a:ext cx="3987552" cy="73801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32123" y="132554"/>
          <a:ext cx="880823" cy="616576"/>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a:t>5</a:t>
          </a:r>
          <a:endParaRPr lang="en-US" sz="1700" kern="1200" dirty="0"/>
        </a:p>
      </dsp:txBody>
      <dsp:txXfrm rot="-5400000">
        <a:off x="1" y="308718"/>
        <a:ext cx="616576" cy="264247"/>
      </dsp:txXfrm>
    </dsp:sp>
    <dsp:sp modelId="{9770188F-3220-4119-9599-0FD33E998D96}">
      <dsp:nvSpPr>
        <dsp:cNvPr id="0" name=""/>
        <dsp:cNvSpPr/>
      </dsp:nvSpPr>
      <dsp:spPr>
        <a:xfrm rot="5400000">
          <a:off x="2830637" y="-2229912"/>
          <a:ext cx="572535" cy="503236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Đầu tư phát triển</a:t>
          </a:r>
          <a:endParaRPr lang="en-US" sz="3600" b="1" kern="1200" dirty="0">
            <a:latin typeface="Times New Roman" panose="02020603050405020304" pitchFamily="18" charset="0"/>
            <a:cs typeface="Times New Roman" panose="02020603050405020304" pitchFamily="18" charset="0"/>
          </a:endParaRPr>
        </a:p>
      </dsp:txBody>
      <dsp:txXfrm rot="-5400000">
        <a:off x="600725" y="27949"/>
        <a:ext cx="5004411" cy="51663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4668" y="184668"/>
          <a:ext cx="1231125" cy="86178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5</a:t>
          </a:r>
          <a:endParaRPr lang="en-US" sz="2400" kern="1200" dirty="0"/>
        </a:p>
      </dsp:txBody>
      <dsp:txXfrm rot="-5400000">
        <a:off x="2" y="430893"/>
        <a:ext cx="861787" cy="369338"/>
      </dsp:txXfrm>
    </dsp:sp>
    <dsp:sp modelId="{9770188F-3220-4119-9599-0FD33E998D96}">
      <dsp:nvSpPr>
        <dsp:cNvPr id="0" name=""/>
        <dsp:cNvSpPr/>
      </dsp:nvSpPr>
      <dsp:spPr>
        <a:xfrm rot="5400000">
          <a:off x="5728640" y="-4900245"/>
          <a:ext cx="800231" cy="10600721"/>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None/>
          </a:pPr>
          <a:r>
            <a:rPr lang="vi-VN" sz="3200" b="1" kern="1200" dirty="0">
              <a:latin typeface="Times New Roman" panose="02020603050405020304" pitchFamily="18" charset="0"/>
              <a:cs typeface="Times New Roman" panose="02020603050405020304" pitchFamily="18" charset="0"/>
            </a:rPr>
            <a:t>Đầu tư phát </a:t>
          </a:r>
          <a:r>
            <a:rPr lang="vi-VN"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ối</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ới</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Ban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quản</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lý</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Khu</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kinh</a:t>
          </a:r>
          <a:r>
            <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en-US" sz="3200" b="1" kern="1200" dirty="0" err="1">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ế</a:t>
          </a:r>
          <a:endParaRPr lang="en-US" sz="3200" b="1" kern="1200" dirty="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rot="-5400000">
        <a:off x="828395" y="39064"/>
        <a:ext cx="10561657" cy="72210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6</a:t>
          </a:r>
          <a:endParaRPr lang="en-US" sz="2100" kern="1200" dirty="0"/>
        </a:p>
      </dsp:txBody>
      <dsp:txXfrm rot="-5400000">
        <a:off x="1" y="382689"/>
        <a:ext cx="765380" cy="328020"/>
      </dsp:txXfrm>
    </dsp:sp>
    <dsp:sp modelId="{9770188F-3220-4119-9599-0FD33E998D96}">
      <dsp:nvSpPr>
        <dsp:cNvPr id="0" name=""/>
        <dsp:cNvSpPr/>
      </dsp:nvSpPr>
      <dsp:spPr>
        <a:xfrm rot="5400000">
          <a:off x="5894859" y="-5128541"/>
          <a:ext cx="710709" cy="10969669"/>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None/>
          </a:pPr>
          <a:r>
            <a:rPr lang="vi-VN" sz="3200" b="1" i="0" kern="1200">
              <a:latin typeface="Times New Roman" panose="02020603050405020304" pitchFamily="18" charset="0"/>
              <a:cs typeface="Times New Roman" panose="02020603050405020304" pitchFamily="18" charset="0"/>
            </a:rPr>
            <a:t>Quản lý môi trường</a:t>
          </a:r>
          <a:endParaRPr lang="en-US" sz="3200" b="1" kern="1200" dirty="0">
            <a:latin typeface="Times New Roman" panose="02020603050405020304" pitchFamily="18" charset="0"/>
            <a:cs typeface="Times New Roman" panose="02020603050405020304" pitchFamily="18" charset="0"/>
          </a:endParaRPr>
        </a:p>
      </dsp:txBody>
      <dsp:txXfrm rot="-5400000">
        <a:off x="765379" y="35633"/>
        <a:ext cx="10934975" cy="64132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77276" y="177276"/>
          <a:ext cx="1181846" cy="827292"/>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a:t>7</a:t>
          </a:r>
          <a:endParaRPr lang="en-US" sz="2300" kern="1200" dirty="0"/>
        </a:p>
      </dsp:txBody>
      <dsp:txXfrm rot="-5400000">
        <a:off x="1" y="413645"/>
        <a:ext cx="827292" cy="354554"/>
      </dsp:txXfrm>
    </dsp:sp>
    <dsp:sp modelId="{9770188F-3220-4119-9599-0FD33E998D96}">
      <dsp:nvSpPr>
        <dsp:cNvPr id="0" name=""/>
        <dsp:cNvSpPr/>
      </dsp:nvSpPr>
      <dsp:spPr>
        <a:xfrm rot="5400000">
          <a:off x="2409753" y="-1582460"/>
          <a:ext cx="768199" cy="3933121"/>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Văn hóa – xã hội</a:t>
          </a:r>
          <a:endParaRPr lang="en-US" sz="3600" b="1" kern="1200" dirty="0">
            <a:latin typeface="Times New Roman" panose="02020603050405020304" pitchFamily="18" charset="0"/>
            <a:cs typeface="Times New Roman" panose="02020603050405020304" pitchFamily="18" charset="0"/>
          </a:endParaRPr>
        </a:p>
      </dsp:txBody>
      <dsp:txXfrm rot="-5400000">
        <a:off x="827292" y="37501"/>
        <a:ext cx="3895621" cy="69319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5927" y="185927"/>
          <a:ext cx="1239515" cy="86766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8</a:t>
          </a:r>
          <a:endParaRPr lang="en-US" sz="2400" kern="1200" dirty="0"/>
        </a:p>
      </dsp:txBody>
      <dsp:txXfrm rot="-5400000">
        <a:off x="1" y="433831"/>
        <a:ext cx="867661" cy="371854"/>
      </dsp:txXfrm>
    </dsp:sp>
    <dsp:sp modelId="{9770188F-3220-4119-9599-0FD33E998D96}">
      <dsp:nvSpPr>
        <dsp:cNvPr id="0" name=""/>
        <dsp:cNvSpPr/>
      </dsp:nvSpPr>
      <dsp:spPr>
        <a:xfrm rot="5400000">
          <a:off x="5326888" y="-4459227"/>
          <a:ext cx="805685" cy="9724139"/>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Xây dựng chính quyền và quốc phòng – an ninh</a:t>
          </a:r>
          <a:endParaRPr lang="en-US" sz="3600" b="1" kern="1200" dirty="0">
            <a:latin typeface="Times New Roman" panose="02020603050405020304" pitchFamily="18" charset="0"/>
            <a:cs typeface="Times New Roman" panose="02020603050405020304" pitchFamily="18" charset="0"/>
          </a:endParaRPr>
        </a:p>
      </dsp:txBody>
      <dsp:txXfrm rot="-5400000">
        <a:off x="867661" y="39330"/>
        <a:ext cx="9684809" cy="7270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295793" y="315317"/>
          <a:ext cx="1971955" cy="138036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119063" lvl="0" indent="0" algn="ctr" defTabSz="1778000">
            <a:lnSpc>
              <a:spcPct val="90000"/>
            </a:lnSpc>
            <a:spcBef>
              <a:spcPct val="0"/>
            </a:spcBef>
            <a:spcAft>
              <a:spcPct val="35000"/>
            </a:spcAft>
            <a:buNone/>
          </a:pPr>
          <a:r>
            <a:rPr lang="en-US" sz="4000" kern="1200">
              <a:solidFill>
                <a:prstClr val="white"/>
              </a:solidFill>
              <a:latin typeface="Times New Roman" panose="02020603050405020304" pitchFamily="18" charset="0"/>
              <a:ea typeface="+mn-ea"/>
              <a:cs typeface="+mn-cs"/>
            </a:rPr>
            <a:t>4</a:t>
          </a:r>
        </a:p>
      </dsp:txBody>
      <dsp:txXfrm rot="-5400000">
        <a:off x="1" y="709707"/>
        <a:ext cx="1380368" cy="591587"/>
      </dsp:txXfrm>
    </dsp:sp>
    <dsp:sp modelId="{9770188F-3220-4119-9599-0FD33E998D96}">
      <dsp:nvSpPr>
        <dsp:cNvPr id="0" name=""/>
        <dsp:cNvSpPr/>
      </dsp:nvSpPr>
      <dsp:spPr>
        <a:xfrm rot="5400000">
          <a:off x="5726206" y="-4341175"/>
          <a:ext cx="1311495" cy="100031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l" defTabSz="1066800">
            <a:lnSpc>
              <a:spcPct val="90000"/>
            </a:lnSpc>
            <a:spcBef>
              <a:spcPct val="0"/>
            </a:spcBef>
            <a:spcAft>
              <a:spcPct val="15000"/>
            </a:spcAft>
            <a:buFontTx/>
            <a:buNone/>
          </a:pPr>
          <a:r>
            <a:rPr lang="vi-VN"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u ngân sách từ nguồn thu tiền sử dụng đất gặp khó khăn</a:t>
          </a:r>
          <a:r>
            <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 hưởng lớn đến </a:t>
          </a:r>
          <a:r>
            <a:rPr lang="it-IT"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a:t>
          </a:r>
          <a:endParaRPr lang="en-US" sz="2400" kern="1200" spc="15">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1380368" y="68685"/>
        <a:ext cx="9939149" cy="1183451"/>
      </dsp:txXfrm>
    </dsp:sp>
    <dsp:sp modelId="{8817F595-0CBF-4A67-B220-01C4FEDE7BDC}">
      <dsp:nvSpPr>
        <dsp:cNvPr id="0" name=""/>
        <dsp:cNvSpPr/>
      </dsp:nvSpPr>
      <dsp:spPr>
        <a:xfrm rot="5400000">
          <a:off x="-295793" y="2147068"/>
          <a:ext cx="1971955" cy="138036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119063" lvl="0" indent="0" algn="ctr" defTabSz="1778000">
            <a:lnSpc>
              <a:spcPct val="90000"/>
            </a:lnSpc>
            <a:spcBef>
              <a:spcPct val="0"/>
            </a:spcBef>
            <a:spcAft>
              <a:spcPct val="35000"/>
            </a:spcAft>
            <a:buNone/>
          </a:pPr>
          <a:r>
            <a:rPr lang="vi-VN" sz="4000" kern="1200">
              <a:latin typeface="+mj-lt"/>
            </a:rPr>
            <a:t>5</a:t>
          </a:r>
          <a:endParaRPr lang="en-US" sz="4000" kern="1200">
            <a:latin typeface="+mj-lt"/>
          </a:endParaRPr>
        </a:p>
      </dsp:txBody>
      <dsp:txXfrm rot="-5400000">
        <a:off x="1" y="2541458"/>
        <a:ext cx="1380368" cy="591587"/>
      </dsp:txXfrm>
    </dsp:sp>
    <dsp:sp modelId="{4255E3A5-4AA0-4157-8323-82B22B7EADFB}">
      <dsp:nvSpPr>
        <dsp:cNvPr id="0" name=""/>
        <dsp:cNvSpPr/>
      </dsp:nvSpPr>
      <dsp:spPr>
        <a:xfrm rot="5400000">
          <a:off x="5694102" y="-2509088"/>
          <a:ext cx="1375704" cy="100031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l" defTabSz="1066800">
            <a:lnSpc>
              <a:spcPct val="90000"/>
            </a:lnSpc>
            <a:spcBef>
              <a:spcPct val="0"/>
            </a:spcBef>
            <a:spcAft>
              <a:spcPct val="15000"/>
            </a:spcAft>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ình trạng lấn chiếm đất đai, xây dựng trái phép, ô nhiễm môi trường tại một số cụm, điểm công nghiệp... vẫn còn xảy ra ở một số địa phương nhưng chưa được xử lý dứt điểm. Công tác quản lý đất đai, tài nguyên khoáng sản tại một số địa phương, nhất là ở cơ sở chưa chặt chẽ</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1380369" y="1871801"/>
        <a:ext cx="9936015" cy="1241392"/>
      </dsp:txXfrm>
    </dsp:sp>
    <dsp:sp modelId="{8C77F59C-EAEA-4787-A756-92A36C2F3EF3}">
      <dsp:nvSpPr>
        <dsp:cNvPr id="0" name=""/>
        <dsp:cNvSpPr/>
      </dsp:nvSpPr>
      <dsp:spPr>
        <a:xfrm rot="5400000">
          <a:off x="-295793" y="3973038"/>
          <a:ext cx="1971955" cy="1380368"/>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119063" lvl="0" indent="0" algn="ctr" defTabSz="1778000">
            <a:lnSpc>
              <a:spcPct val="90000"/>
            </a:lnSpc>
            <a:spcBef>
              <a:spcPct val="0"/>
            </a:spcBef>
            <a:spcAft>
              <a:spcPct val="35000"/>
            </a:spcAft>
            <a:buFontTx/>
            <a:buNone/>
          </a:pPr>
          <a:r>
            <a:rPr lang="en-US" sz="4000" kern="1200">
              <a:latin typeface="+mj-lt"/>
            </a:rPr>
            <a:t>6</a:t>
          </a:r>
        </a:p>
      </dsp:txBody>
      <dsp:txXfrm rot="-5400000">
        <a:off x="1" y="4367428"/>
        <a:ext cx="1380368" cy="591587"/>
      </dsp:txXfrm>
    </dsp:sp>
    <dsp:sp modelId="{CC0D3A42-5817-497B-84F6-E51D67B8C371}">
      <dsp:nvSpPr>
        <dsp:cNvPr id="0" name=""/>
        <dsp:cNvSpPr/>
      </dsp:nvSpPr>
      <dsp:spPr>
        <a:xfrm rot="5400000">
          <a:off x="5700218" y="-683454"/>
          <a:ext cx="1363470" cy="10003171"/>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l" defTabSz="1066800">
            <a:lnSpc>
              <a:spcPct val="90000"/>
            </a:lnSpc>
            <a:spcBef>
              <a:spcPct val="0"/>
            </a:spcBef>
            <a:spcAft>
              <a:spcPct val="15000"/>
            </a:spcAft>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Chuyển biến về chỉ đạo, điều hành phát triển kinh tế - xã hội bằng các chỉ tiêu, số liệu, kịch bản cụ thể còn chậm. Công tác cải cách hành chính và giải quyết thủ tục hành chính của một số đơn vị còn hạn chế, vẫn còn tình trạng giải quyết hồ sơ thủ tục hành chính trễ hẹn</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1380368" y="3702955"/>
        <a:ext cx="9936612" cy="12303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427167" y="450752"/>
          <a:ext cx="2847782" cy="199344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119063" lvl="0" indent="0" algn="ctr" defTabSz="1778000">
            <a:lnSpc>
              <a:spcPct val="90000"/>
            </a:lnSpc>
            <a:spcBef>
              <a:spcPct val="0"/>
            </a:spcBef>
            <a:spcAft>
              <a:spcPct val="35000"/>
            </a:spcAft>
            <a:buNone/>
          </a:pPr>
          <a:r>
            <a:rPr lang="en-US" sz="4000" kern="1200">
              <a:solidFill>
                <a:prstClr val="white"/>
              </a:solidFill>
              <a:latin typeface="Times New Roman" panose="02020603050405020304" pitchFamily="18" charset="0"/>
              <a:ea typeface="+mn-ea"/>
              <a:cs typeface="+mn-cs"/>
            </a:rPr>
            <a:t>7</a:t>
          </a:r>
        </a:p>
      </dsp:txBody>
      <dsp:txXfrm rot="-5400000">
        <a:off x="1" y="1020309"/>
        <a:ext cx="1993447" cy="854335"/>
      </dsp:txXfrm>
    </dsp:sp>
    <dsp:sp modelId="{9770188F-3220-4119-9599-0FD33E998D96}">
      <dsp:nvSpPr>
        <dsp:cNvPr id="0" name=""/>
        <dsp:cNvSpPr/>
      </dsp:nvSpPr>
      <dsp:spPr>
        <a:xfrm rot="5400000">
          <a:off x="5678280" y="-3682710"/>
          <a:ext cx="1893984" cy="926365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l" defTabSz="1066800">
            <a:lnSpc>
              <a:spcPct val="90000"/>
            </a:lnSpc>
            <a:spcBef>
              <a:spcPct val="0"/>
            </a:spcBef>
            <a:spcAft>
              <a:spcPct val="15000"/>
            </a:spcAft>
            <a:buFontTx/>
            <a:buNone/>
          </a:pPr>
          <a:r>
            <a:rPr lang="it-IT"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Việc triển khai công tác chuyển đổi vị trí công tác đối với cán bộ, công chức, viên chức còn chậm, nhất là chuyển đổi vị trí công tác đối với công chức cấp xã qua lại giữa các địa phương trong cùng địa bàn cấp huyện, nhiều địa phương chưa thực sự quan tâm xây dựng kế hoạch triển khai thực hiện chuyển đổi vị trí công tác</a:t>
          </a:r>
          <a:endPar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dsp:txBody>
      <dsp:txXfrm rot="-5400000">
        <a:off x="1993448" y="94579"/>
        <a:ext cx="9171193" cy="1709070"/>
      </dsp:txXfrm>
    </dsp:sp>
    <dsp:sp modelId="{8817F595-0CBF-4A67-B220-01C4FEDE7BDC}">
      <dsp:nvSpPr>
        <dsp:cNvPr id="0" name=""/>
        <dsp:cNvSpPr/>
      </dsp:nvSpPr>
      <dsp:spPr>
        <a:xfrm rot="5400000">
          <a:off x="-427167" y="3038178"/>
          <a:ext cx="2847782" cy="199344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marL="119063" lvl="0" indent="0" algn="ctr" defTabSz="1778000">
            <a:lnSpc>
              <a:spcPct val="90000"/>
            </a:lnSpc>
            <a:spcBef>
              <a:spcPct val="0"/>
            </a:spcBef>
            <a:spcAft>
              <a:spcPct val="35000"/>
            </a:spcAft>
            <a:buNone/>
          </a:pPr>
          <a:r>
            <a:rPr lang="vi-VN" sz="4000" kern="1200">
              <a:latin typeface="+mj-lt"/>
            </a:rPr>
            <a:t>8</a:t>
          </a:r>
          <a:endParaRPr lang="en-US" sz="4000" kern="1200">
            <a:latin typeface="+mj-lt"/>
          </a:endParaRPr>
        </a:p>
      </dsp:txBody>
      <dsp:txXfrm rot="-5400000">
        <a:off x="1" y="3607735"/>
        <a:ext cx="1993447" cy="854335"/>
      </dsp:txXfrm>
    </dsp:sp>
    <dsp:sp modelId="{4255E3A5-4AA0-4157-8323-82B22B7EADFB}">
      <dsp:nvSpPr>
        <dsp:cNvPr id="0" name=""/>
        <dsp:cNvSpPr/>
      </dsp:nvSpPr>
      <dsp:spPr>
        <a:xfrm rot="5400000">
          <a:off x="5680751" y="-1095284"/>
          <a:ext cx="1889042" cy="9263650"/>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119063" lvl="1" indent="0" algn="l" defTabSz="1066800">
            <a:lnSpc>
              <a:spcPct val="90000"/>
            </a:lnSpc>
            <a:spcBef>
              <a:spcPct val="0"/>
            </a:spcBef>
            <a:spcAft>
              <a:spcPct val="15000"/>
            </a:spcAft>
            <a:buNone/>
          </a:pPr>
          <a:r>
            <a:rPr lang="en-US" sz="2400" kern="120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ình hình an ninh trật tự trên địa bàn có lúc, có nơi còn diễn biến phức tạp. Một số đơn vị, địa phương chỉ đạo xử lý, giải quyết đơn thư khiếu nại, tố cáo còn chưa kịp thời, quyết liệt...</a:t>
          </a:r>
        </a:p>
      </dsp:txBody>
      <dsp:txXfrm rot="-5400000">
        <a:off x="1993448" y="2684234"/>
        <a:ext cx="9171435" cy="17046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1</a:t>
          </a:r>
        </a:p>
      </dsp:txBody>
      <dsp:txXfrm rot="-5400000">
        <a:off x="1" y="382689"/>
        <a:ext cx="765380" cy="328020"/>
      </dsp:txXfrm>
    </dsp:sp>
    <dsp:sp modelId="{9770188F-3220-4119-9599-0FD33E998D96}">
      <dsp:nvSpPr>
        <dsp:cNvPr id="0" name=""/>
        <dsp:cNvSpPr/>
      </dsp:nvSpPr>
      <dsp:spPr>
        <a:xfrm rot="5400000">
          <a:off x="5894859" y="-5128541"/>
          <a:ext cx="710709" cy="10969669"/>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None/>
          </a:pPr>
          <a:r>
            <a:rPr lang="vi-VN" sz="3200" b="1" i="0" kern="1200">
              <a:latin typeface="Times New Roman" panose="02020603050405020304" pitchFamily="18" charset="0"/>
              <a:cs typeface="Times New Roman" panose="02020603050405020304" pitchFamily="18" charset="0"/>
            </a:rPr>
            <a:t>Sản xuất</a:t>
          </a:r>
          <a:r>
            <a:rPr lang="it-IT" sz="3200" b="1" i="0" kern="1200">
              <a:latin typeface="Times New Roman" panose="02020603050405020304" pitchFamily="18" charset="0"/>
              <a:cs typeface="Times New Roman" panose="02020603050405020304" pitchFamily="18" charset="0"/>
            </a:rPr>
            <a:t> nông, lâm, </a:t>
          </a:r>
          <a:r>
            <a:rPr lang="vi-VN" sz="3200" b="1" i="0" kern="1200">
              <a:latin typeface="Times New Roman" panose="02020603050405020304" pitchFamily="18" charset="0"/>
              <a:cs typeface="Times New Roman" panose="02020603050405020304" pitchFamily="18" charset="0"/>
            </a:rPr>
            <a:t>thủy sản, quản lý tài nguyên, môi trường</a:t>
          </a:r>
          <a:endParaRPr lang="en-US" sz="3200" b="1" kern="1200" dirty="0">
            <a:latin typeface="Times New Roman" panose="02020603050405020304" pitchFamily="18" charset="0"/>
            <a:cs typeface="Times New Roman" panose="02020603050405020304" pitchFamily="18" charset="0"/>
          </a:endParaRPr>
        </a:p>
      </dsp:txBody>
      <dsp:txXfrm rot="-5400000">
        <a:off x="765379" y="35633"/>
        <a:ext cx="10934975"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43868" y="144806"/>
          <a:ext cx="959124" cy="671387"/>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kern="1200"/>
            <a:t>2</a:t>
          </a:r>
          <a:endParaRPr lang="en-US" sz="2800" kern="1200" dirty="0"/>
        </a:p>
      </dsp:txBody>
      <dsp:txXfrm rot="-5400000">
        <a:off x="1" y="336632"/>
        <a:ext cx="671387" cy="287737"/>
      </dsp:txXfrm>
    </dsp:sp>
    <dsp:sp modelId="{9770188F-3220-4119-9599-0FD33E998D96}">
      <dsp:nvSpPr>
        <dsp:cNvPr id="0" name=""/>
        <dsp:cNvSpPr/>
      </dsp:nvSpPr>
      <dsp:spPr>
        <a:xfrm rot="5400000">
          <a:off x="3800243" y="-3127917"/>
          <a:ext cx="623759" cy="688147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i="0" kern="1200">
              <a:latin typeface="Times New Roman" panose="02020603050405020304" pitchFamily="18" charset="0"/>
              <a:cs typeface="Times New Roman" panose="02020603050405020304" pitchFamily="18" charset="0"/>
            </a:rPr>
            <a:t>Công nghiệp – Xây dựng</a:t>
          </a:r>
          <a:endParaRPr lang="en-US" sz="2800" b="1" kern="1200" dirty="0">
            <a:latin typeface="Times New Roman" panose="02020603050405020304" pitchFamily="18" charset="0"/>
            <a:cs typeface="Times New Roman" panose="02020603050405020304" pitchFamily="18" charset="0"/>
          </a:endParaRPr>
        </a:p>
      </dsp:txBody>
      <dsp:txXfrm rot="-5400000">
        <a:off x="671388" y="31387"/>
        <a:ext cx="6851021" cy="5628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5927" y="185927"/>
          <a:ext cx="1239515" cy="86766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2</a:t>
          </a:r>
          <a:endParaRPr lang="en-US" sz="2400" kern="1200" dirty="0"/>
        </a:p>
      </dsp:txBody>
      <dsp:txXfrm rot="-5400000">
        <a:off x="1" y="433831"/>
        <a:ext cx="867661" cy="371854"/>
      </dsp:txXfrm>
    </dsp:sp>
    <dsp:sp modelId="{9770188F-3220-4119-9599-0FD33E998D96}">
      <dsp:nvSpPr>
        <dsp:cNvPr id="0" name=""/>
        <dsp:cNvSpPr/>
      </dsp:nvSpPr>
      <dsp:spPr>
        <a:xfrm rot="5400000">
          <a:off x="2335678" y="-1457824"/>
          <a:ext cx="805685" cy="3721334"/>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i="0" kern="1200" dirty="0">
              <a:latin typeface="Times New Roman" panose="02020603050405020304" pitchFamily="18" charset="0"/>
              <a:cs typeface="Times New Roman" panose="02020603050405020304" pitchFamily="18" charset="0"/>
            </a:rPr>
            <a:t>Công nghiệp – Xây dựng</a:t>
          </a:r>
          <a:endParaRPr lang="en-US" sz="2400" b="1" kern="1200" dirty="0">
            <a:latin typeface="Times New Roman" panose="02020603050405020304" pitchFamily="18" charset="0"/>
            <a:cs typeface="Times New Roman" panose="02020603050405020304" pitchFamily="18" charset="0"/>
          </a:endParaRPr>
        </a:p>
      </dsp:txBody>
      <dsp:txXfrm rot="-5400000">
        <a:off x="877854" y="39330"/>
        <a:ext cx="3682004" cy="72702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5927" y="185927"/>
          <a:ext cx="1239515" cy="86766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2</a:t>
          </a:r>
          <a:endParaRPr lang="en-US" sz="2400" kern="1200" dirty="0"/>
        </a:p>
      </dsp:txBody>
      <dsp:txXfrm rot="-5400000">
        <a:off x="1" y="433831"/>
        <a:ext cx="867661" cy="371854"/>
      </dsp:txXfrm>
    </dsp:sp>
    <dsp:sp modelId="{9770188F-3220-4119-9599-0FD33E998D96}">
      <dsp:nvSpPr>
        <dsp:cNvPr id="0" name=""/>
        <dsp:cNvSpPr/>
      </dsp:nvSpPr>
      <dsp:spPr>
        <a:xfrm rot="5400000">
          <a:off x="3940362" y="-3072701"/>
          <a:ext cx="805685" cy="6951087"/>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i="0" kern="1200">
              <a:latin typeface="Times New Roman" panose="02020603050405020304" pitchFamily="18" charset="0"/>
              <a:cs typeface="Times New Roman" panose="02020603050405020304" pitchFamily="18" charset="0"/>
            </a:rPr>
            <a:t>Công nghiệp – xây dựng</a:t>
          </a:r>
          <a:endParaRPr lang="en-US" sz="3600" b="1" kern="1200" dirty="0">
            <a:latin typeface="Times New Roman" panose="02020603050405020304" pitchFamily="18" charset="0"/>
            <a:cs typeface="Times New Roman" panose="02020603050405020304" pitchFamily="18" charset="0"/>
          </a:endParaRPr>
        </a:p>
      </dsp:txBody>
      <dsp:txXfrm rot="-5400000">
        <a:off x="867661" y="39330"/>
        <a:ext cx="6911757" cy="7270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85927" y="185927"/>
          <a:ext cx="1239515" cy="86766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2</a:t>
          </a:r>
          <a:endParaRPr lang="en-US" sz="2400" kern="1200" dirty="0"/>
        </a:p>
      </dsp:txBody>
      <dsp:txXfrm rot="-5400000">
        <a:off x="1" y="433831"/>
        <a:ext cx="867661" cy="371854"/>
      </dsp:txXfrm>
    </dsp:sp>
    <dsp:sp modelId="{9770188F-3220-4119-9599-0FD33E998D96}">
      <dsp:nvSpPr>
        <dsp:cNvPr id="0" name=""/>
        <dsp:cNvSpPr/>
      </dsp:nvSpPr>
      <dsp:spPr>
        <a:xfrm rot="5400000">
          <a:off x="2780563" y="-1912902"/>
          <a:ext cx="805685" cy="4631490"/>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7584" tIns="20320" rIns="20320" bIns="20320" numCol="1" spcCol="1270" anchor="ctr" anchorCtr="0">
          <a:noAutofit/>
        </a:bodyPr>
        <a:lstStyle/>
        <a:p>
          <a:pPr marL="285750" lvl="1" indent="-285750" algn="l" defTabSz="1422400">
            <a:lnSpc>
              <a:spcPct val="90000"/>
            </a:lnSpc>
            <a:spcBef>
              <a:spcPct val="0"/>
            </a:spcBef>
            <a:spcAft>
              <a:spcPct val="15000"/>
            </a:spcAft>
            <a:buNone/>
          </a:pPr>
          <a:r>
            <a:rPr lang="vi-VN" sz="3200" b="1" i="0" kern="1200">
              <a:latin typeface="Times New Roman" panose="02020603050405020304" pitchFamily="18" charset="0"/>
              <a:cs typeface="Times New Roman" panose="02020603050405020304" pitchFamily="18" charset="0"/>
            </a:rPr>
            <a:t>Công nghiệp – xây dựng</a:t>
          </a:r>
          <a:endParaRPr lang="en-US" sz="3200" b="1" kern="1200" dirty="0">
            <a:latin typeface="Times New Roman" panose="02020603050405020304" pitchFamily="18" charset="0"/>
            <a:cs typeface="Times New Roman" panose="02020603050405020304" pitchFamily="18" charset="0"/>
          </a:endParaRPr>
        </a:p>
      </dsp:txBody>
      <dsp:txXfrm rot="-5400000">
        <a:off x="867661" y="39330"/>
        <a:ext cx="4592160" cy="72702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52602" y="152602"/>
          <a:ext cx="1017348" cy="712143"/>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a:t>3</a:t>
          </a:r>
          <a:endParaRPr lang="en-US" sz="2000" kern="1200" dirty="0"/>
        </a:p>
      </dsp:txBody>
      <dsp:txXfrm rot="-5400000">
        <a:off x="1" y="356072"/>
        <a:ext cx="712143" cy="305205"/>
      </dsp:txXfrm>
    </dsp:sp>
    <dsp:sp modelId="{9770188F-3220-4119-9599-0FD33E998D96}">
      <dsp:nvSpPr>
        <dsp:cNvPr id="0" name=""/>
        <dsp:cNvSpPr/>
      </dsp:nvSpPr>
      <dsp:spPr>
        <a:xfrm rot="5400000">
          <a:off x="4235580" y="-3496399"/>
          <a:ext cx="661276" cy="7654075"/>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dirty="0">
              <a:latin typeface="Times New Roman" panose="02020603050405020304" pitchFamily="18" charset="0"/>
              <a:cs typeface="Times New Roman" panose="02020603050405020304" pitchFamily="18" charset="0"/>
            </a:rPr>
            <a:t>Thương mại – dịch vụ</a:t>
          </a:r>
          <a:endParaRPr lang="en-US" sz="3600" b="1" kern="1200" dirty="0">
            <a:latin typeface="Times New Roman" panose="02020603050405020304" pitchFamily="18" charset="0"/>
            <a:cs typeface="Times New Roman" panose="02020603050405020304" pitchFamily="18" charset="0"/>
          </a:endParaRPr>
        </a:p>
      </dsp:txBody>
      <dsp:txXfrm rot="-5400000">
        <a:off x="739181" y="32281"/>
        <a:ext cx="7621794" cy="596714"/>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6/12/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6/12/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92449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6718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78873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462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i="0" spc="-20" dirty="0">
                <a:effectLst/>
                <a:latin typeface="Times New Roman" panose="02020603050405020304" pitchFamily="18" charset="0"/>
                <a:ea typeface="Times New Roman" panose="02020603050405020304" pitchFamily="18" charset="0"/>
                <a:cs typeface="Times New Roman" panose="02020603050405020304" pitchFamily="18" charset="0"/>
              </a:rPr>
              <a:t>Vốn đầu tư thực hiện toàn xã hội năm 2022 theo giá hiện hành ước đạt </a:t>
            </a:r>
            <a:r>
              <a:rPr lang="en-US"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3</a:t>
            </a:r>
            <a:r>
              <a:rPr lang="vi-VN"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2</a:t>
            </a:r>
            <a:r>
              <a:rPr lang="de-DE"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2 </a:t>
            </a:r>
            <a:r>
              <a:rPr lang="vi-VN"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triệu </a:t>
            </a:r>
            <a:r>
              <a:rPr lang="de-DE" sz="1200" i="0" spc="-20" dirty="0">
                <a:effectLst/>
                <a:latin typeface="Times New Roman" panose="02020603050405020304" pitchFamily="18" charset="0"/>
                <a:ea typeface="Times New Roman" panose="02020603050405020304" pitchFamily="18" charset="0"/>
                <a:cs typeface="Times New Roman" panose="02020603050405020304" pitchFamily="18" charset="0"/>
              </a:rPr>
              <a:t>tỷ đồng, </a:t>
            </a:r>
            <a:r>
              <a:rPr lang="de-DE" sz="1200" b="1" i="0" spc="-20" dirty="0">
                <a:effectLst/>
                <a:latin typeface="Times New Roman" panose="02020603050405020304" pitchFamily="18" charset="0"/>
                <a:ea typeface="Times New Roman" panose="02020603050405020304" pitchFamily="18" charset="0"/>
                <a:cs typeface="Times New Roman" panose="02020603050405020304" pitchFamily="18" charset="0"/>
              </a:rPr>
              <a:t>tăng 11,2% </a:t>
            </a:r>
            <a:r>
              <a:rPr lang="de-DE" sz="1200" i="0" spc="-20" dirty="0">
                <a:effectLst/>
                <a:latin typeface="Times New Roman" panose="02020603050405020304" pitchFamily="18" charset="0"/>
                <a:ea typeface="Times New Roman" panose="02020603050405020304" pitchFamily="18" charset="0"/>
                <a:cs typeface="Times New Roman" panose="02020603050405020304" pitchFamily="18" charset="0"/>
              </a:rPr>
              <a:t>so với năm trước</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bao gồm: </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marR="0" lvl="0" indent="-298450" algn="l" defTabSz="914400" rtl="0" eaLnBrk="1" fontAlgn="auto" latinLnBrk="0" hangingPunct="1">
              <a:lnSpc>
                <a:spcPct val="150000"/>
              </a:lnSpc>
              <a:spcBef>
                <a:spcPts val="0"/>
              </a:spcBef>
              <a:spcAft>
                <a:spcPts val="0"/>
              </a:spcAft>
              <a:buClr>
                <a:srgbClr val="000000"/>
              </a:buClr>
              <a:buSzPts val="1100"/>
              <a:buFont typeface="Arial"/>
              <a:buChar char="●"/>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ốn khu vực Nhà nước ước đạ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82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7</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nghìn tỷ đồng, chiếm </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25</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6</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ổng vốn đầu tư và tă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4,6%</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so với cùng kỳ năm trước; </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marR="0" lvl="0" indent="-298450" algn="l" defTabSz="914400" rtl="0" eaLnBrk="1" fontAlgn="auto" latinLnBrk="0" hangingPunct="1">
              <a:lnSpc>
                <a:spcPct val="150000"/>
              </a:lnSpc>
              <a:spcBef>
                <a:spcPts val="0"/>
              </a:spcBef>
              <a:spcAft>
                <a:spcPts val="0"/>
              </a:spcAft>
              <a:buClr>
                <a:srgbClr val="000000"/>
              </a:buClr>
              <a:buSzPts val="1100"/>
              <a:buFont typeface="Arial"/>
              <a:buChar char="●"/>
              <a:tabLst/>
              <a:defRPr/>
            </a:pPr>
            <a:r>
              <a:rPr lang="vi-VN" sz="1200" dirty="0">
                <a:effectLst/>
                <a:latin typeface="Times New Roman" panose="02020603050405020304" pitchFamily="18" charset="0"/>
                <a:ea typeface="Times New Roman" panose="02020603050405020304" pitchFamily="18" charset="0"/>
                <a:cs typeface="Times New Roman" panose="02020603050405020304" pitchFamily="18" charset="0"/>
              </a:rPr>
              <a:t>K</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u vực ngoài Nhà nước đạt gần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1,87</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riệu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ỷ đồng, chiếm </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5</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8</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ăng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8,9</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457200" marR="0" lvl="0" indent="-298450" algn="l" defTabSz="914400" rtl="0" eaLnBrk="1" fontAlgn="auto" latinLnBrk="0" hangingPunct="1">
              <a:lnSpc>
                <a:spcPct val="150000"/>
              </a:lnSpc>
              <a:spcBef>
                <a:spcPts val="0"/>
              </a:spcBef>
              <a:spcAft>
                <a:spcPts val="0"/>
              </a:spcAft>
              <a:buClr>
                <a:srgbClr val="000000"/>
              </a:buClr>
              <a:buSzPts val="1100"/>
              <a:buFont typeface="Arial"/>
              <a:buChar char="●"/>
              <a:tabLst/>
              <a:defRPr/>
            </a:pPr>
            <a:r>
              <a:rPr lang="vi-VN" sz="1200" dirty="0">
                <a:effectLst/>
                <a:latin typeface="Times New Roman" panose="02020603050405020304" pitchFamily="18" charset="0"/>
                <a:ea typeface="Times New Roman" panose="02020603050405020304" pitchFamily="18" charset="0"/>
                <a:cs typeface="Times New Roman" panose="02020603050405020304" pitchFamily="18" charset="0"/>
              </a:rPr>
              <a:t>K</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u vực có vốn đầu tư trực tiếp nước ngoài đạt</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521</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9</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nghìn tỷ đồng, chiếm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6,2%</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à tăng</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13</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9%.</a:t>
            </a:r>
            <a:endPar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175983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457200" marR="0" lvl="0" indent="-298450" algn="just" defTabSz="914400" rtl="0" eaLnBrk="1" fontAlgn="auto" latinLnBrk="0" hangingPunct="1">
              <a:lnSpc>
                <a:spcPct val="150000"/>
              </a:lnSpc>
              <a:spcBef>
                <a:spcPts val="200"/>
              </a:spcBef>
              <a:spcAft>
                <a:spcPts val="200"/>
              </a:spcAft>
              <a:buClr>
                <a:srgbClr val="000000"/>
              </a:buClr>
              <a:buSzPts val="1100"/>
              <a:buFont typeface="Arial"/>
              <a:buChar char="●"/>
              <a:tabLst/>
              <a:defRPr/>
            </a:pPr>
            <a:r>
              <a:rPr lang="de-DE" sz="1200" b="1" i="0" dirty="0">
                <a:effectLst/>
                <a:latin typeface="Times New Roman" panose="02020603050405020304" pitchFamily="18" charset="0"/>
                <a:ea typeface="Times New Roman" panose="02020603050405020304" pitchFamily="18" charset="0"/>
                <a:cs typeface="Times New Roman" panose="02020603050405020304" pitchFamily="18" charset="0"/>
              </a:rPr>
              <a:t>Tổng vốn đầu tư nước ngoài </a:t>
            </a:r>
            <a:r>
              <a:rPr lang="de-DE" sz="1200" i="0" dirty="0">
                <a:effectLst/>
                <a:latin typeface="Times New Roman" panose="02020603050405020304" pitchFamily="18" charset="0"/>
                <a:ea typeface="Times New Roman" panose="02020603050405020304" pitchFamily="18" charset="0"/>
                <a:cs typeface="Times New Roman" panose="02020603050405020304" pitchFamily="18" charset="0"/>
              </a:rPr>
              <a:t>đăng ký vào Việt Nam</a:t>
            </a:r>
            <a:r>
              <a:rPr lang="vi-VN" sz="1200" i="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ính đến ngày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0/12/2022</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bao gồm: Vốn đăng ký cấp mới, vốn đăng ký điều chỉnh và giá trị góp vốn, mua cổ phần của nhà đầu tư nước ngoài đạ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27,72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11%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a:t>
            </a:r>
            <a:r>
              <a:rPr lang="vi-VN" sz="1200" dirty="0">
                <a:effectLst/>
                <a:latin typeface="Times New Roman" panose="02020603050405020304" pitchFamily="18" charset="0"/>
                <a:ea typeface="Times New Roman" panose="02020603050405020304" pitchFamily="18" charset="0"/>
                <a:cs typeface="Times New Roman" panose="02020603050405020304" pitchFamily="18" charset="0"/>
              </a:rPr>
              <a:t> Cụ thể:</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cấp mới có hơn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2 </a:t>
            </a:r>
            <a:r>
              <a:rPr lang="de-DE" sz="1200" b="0" spc="-2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dự án được cấp phép với số vốn đăng ký đạt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12,45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tỷ USD,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tăng 17,1%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dự án và </a:t>
            </a:r>
            <a:r>
              <a:rPr lang="de-DE" sz="1200" b="1" spc="-20" dirty="0">
                <a:effectLst/>
                <a:latin typeface="Times New Roman" panose="02020603050405020304" pitchFamily="18" charset="0"/>
                <a:ea typeface="Times New Roman" panose="02020603050405020304" pitchFamily="18" charset="0"/>
                <a:cs typeface="Times New Roman" panose="02020603050405020304" pitchFamily="18" charset="0"/>
              </a:rPr>
              <a:t>giảm 18,4% </a:t>
            </a:r>
            <a:r>
              <a:rPr lang="de-DE" sz="1200" spc="-20" dirty="0">
                <a:effectLst/>
                <a:latin typeface="Times New Roman" panose="02020603050405020304" pitchFamily="18" charset="0"/>
                <a:ea typeface="Times New Roman" panose="02020603050405020304" pitchFamily="18" charset="0"/>
                <a:cs typeface="Times New Roman" panose="02020603050405020304" pitchFamily="18" charset="0"/>
              </a:rPr>
              <a:t>về số vốn đăng ký so với năm trước;</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điều chỉnh có hơ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ghì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lượt dự án đã cấp phép từ các năm trước đăng ký điều chỉnh vốn đầu tư tăng thêm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10,12 tỷ 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12,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marL="615950" marR="0" lvl="1" indent="0" algn="just" defTabSz="914400" rtl="0" eaLnBrk="1" fontAlgn="auto" latinLnBrk="0" hangingPunct="1">
              <a:lnSpc>
                <a:spcPct val="150000"/>
              </a:lnSpc>
              <a:spcBef>
                <a:spcPts val="200"/>
              </a:spcBef>
              <a:spcAft>
                <a:spcPts val="200"/>
              </a:spcAft>
              <a:buClr>
                <a:srgbClr val="000000"/>
              </a:buClr>
              <a:buSzPts val="1100"/>
              <a:buFont typeface="Arial"/>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Vốn đăng ký góp vốn, mua cổ phần của nhà đầu tư nước ngoài có </a:t>
            </a:r>
            <a:r>
              <a:rPr lang="en-US" sz="1200" dirty="0" err="1">
                <a:effectLst/>
                <a:latin typeface="Times New Roman" panose="02020603050405020304" pitchFamily="18" charset="0"/>
                <a:ea typeface="Times New Roman" panose="02020603050405020304" pitchFamily="18" charset="0"/>
                <a:cs typeface="Times New Roman" panose="02020603050405020304" pitchFamily="18" charset="0"/>
              </a:rPr>
              <a:t>gần</a:t>
            </a:r>
            <a:r>
              <a:rPr lang="en-US"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3</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6</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vi-VN" sz="1200" b="0" dirty="0">
                <a:effectLst/>
                <a:latin typeface="Times New Roman" panose="02020603050405020304" pitchFamily="18" charset="0"/>
                <a:ea typeface="Times New Roman" panose="02020603050405020304" pitchFamily="18" charset="0"/>
                <a:cs typeface="Times New Roman" panose="02020603050405020304" pitchFamily="18" charset="0"/>
              </a:rPr>
              <a:t>nghìn lượt</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ới tổng giá trị góp vố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5,15 tỷ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 25,2%</a:t>
            </a:r>
            <a:r>
              <a:rPr lang="vi-VN"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995805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14425900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5</a:t>
            </a:fld>
            <a:endParaRPr lang="en-US">
              <a:solidFill>
                <a:prstClr val="black"/>
              </a:solidFill>
            </a:endParaRPr>
          </a:p>
        </p:txBody>
      </p:sp>
    </p:spTree>
    <p:extLst>
      <p:ext uri="{BB962C8B-B14F-4D97-AF65-F5344CB8AC3E}">
        <p14:creationId xmlns:p14="http://schemas.microsoft.com/office/powerpoint/2010/main" val="1434988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6</a:t>
            </a:fld>
            <a:endParaRPr lang="en-US">
              <a:solidFill>
                <a:prstClr val="black"/>
              </a:solidFill>
            </a:endParaRPr>
          </a:p>
        </p:txBody>
      </p:sp>
    </p:spTree>
    <p:extLst>
      <p:ext uri="{BB962C8B-B14F-4D97-AF65-F5344CB8AC3E}">
        <p14:creationId xmlns:p14="http://schemas.microsoft.com/office/powerpoint/2010/main" val="2739742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7</a:t>
            </a:fld>
            <a:endParaRPr lang="en-US">
              <a:solidFill>
                <a:prstClr val="black"/>
              </a:solidFill>
            </a:endParaRPr>
          </a:p>
        </p:txBody>
      </p:sp>
    </p:spTree>
    <p:extLst>
      <p:ext uri="{BB962C8B-B14F-4D97-AF65-F5344CB8AC3E}">
        <p14:creationId xmlns:p14="http://schemas.microsoft.com/office/powerpoint/2010/main" val="13368501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y hoạch tổng thể quốc gia thời kỳ 2021 - 2030, tầm nhìn đến năm 2050 đã được Quốc hội thông qua tại Nghị quyết số 81/2023/QH15 ngày 9/1/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latin typeface="Times New Roman" panose="02020603050405020304" pitchFamily="18" charset="0"/>
                <a:cs typeface="Times New Roman" panose="02020603050405020304" pitchFamily="18" charset="0"/>
              </a:rPr>
              <a:t>Bộ Chính trị đã ban hành Nghị quyết số 26-NQ/TW ngày 3/11/2022 về phát triển kinh tế - xã hội và bảo đảm quốc phòng, an ninh V</a:t>
            </a:r>
            <a:r>
              <a:rPr lang="vi-VN" sz="1200" b="0" i="0" kern="1200">
                <a:latin typeface="Times New Roman" panose="02020603050405020304" pitchFamily="18" charset="0"/>
                <a:cs typeface="Times New Roman" panose="02020603050405020304" pitchFamily="18" charset="0"/>
              </a:rPr>
              <a:t>ùng Bắc Trung Bộ và Duyên hải Trung B</a:t>
            </a:r>
            <a:r>
              <a:rPr lang="en-US" sz="1200" b="0" i="0" kern="1200">
                <a:latin typeface="Times New Roman" panose="02020603050405020304" pitchFamily="18" charset="0"/>
                <a:cs typeface="Times New Roman" panose="02020603050405020304" pitchFamily="18" charset="0"/>
              </a:rPr>
              <a:t>ộ</a:t>
            </a:r>
            <a:endParaRPr lang="en-US"/>
          </a:p>
        </p:txBody>
      </p:sp>
      <p:sp>
        <p:nvSpPr>
          <p:cNvPr id="4" name="Slide Number Placeholder 3"/>
          <p:cNvSpPr>
            <a:spLocks noGrp="1"/>
          </p:cNvSpPr>
          <p:nvPr>
            <p:ph type="sldNum" sz="quarter" idx="10"/>
          </p:nvPr>
        </p:nvSpPr>
        <p:spPr/>
        <p:txBody>
          <a:bodyPr/>
          <a:lstStyle/>
          <a:p>
            <a:fld id="{50164B4F-905B-4F99-A1EB-C2D9E4133D57}" type="slidenum">
              <a:rPr lang="vi-VN" smtClean="0"/>
              <a:t>72</a:t>
            </a:fld>
            <a:endParaRPr lang="vi-VN"/>
          </a:p>
        </p:txBody>
      </p:sp>
    </p:spTree>
    <p:extLst>
      <p:ext uri="{BB962C8B-B14F-4D97-AF65-F5344CB8AC3E}">
        <p14:creationId xmlns:p14="http://schemas.microsoft.com/office/powerpoint/2010/main" val="1841309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y hoạch tổng thể quốc gia thời kỳ 2021 - 2030, tầm nhìn đến năm 2050 đã được Quốc hội thông qua tại Nghị quyết số 81/2023/QH15 ngày 9/1/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latin typeface="Times New Roman" panose="02020603050405020304" pitchFamily="18" charset="0"/>
                <a:cs typeface="Times New Roman" panose="02020603050405020304" pitchFamily="18" charset="0"/>
              </a:rPr>
              <a:t>Bộ Chính trị đã ban hành Nghị quyết số 26-NQ/TW ngày 3/11/2022 về phát triển kinh tế - xã hội và bảo đảm quốc phòng, an ninh V</a:t>
            </a:r>
            <a:r>
              <a:rPr lang="vi-VN" sz="1200" b="0" i="0" kern="1200">
                <a:latin typeface="Times New Roman" panose="02020603050405020304" pitchFamily="18" charset="0"/>
                <a:cs typeface="Times New Roman" panose="02020603050405020304" pitchFamily="18" charset="0"/>
              </a:rPr>
              <a:t>ùng Bắc Trung Bộ và Duyên hải Trung B</a:t>
            </a:r>
            <a:r>
              <a:rPr lang="en-US" sz="1200" b="0" i="0" kern="1200">
                <a:latin typeface="Times New Roman" panose="02020603050405020304" pitchFamily="18" charset="0"/>
                <a:cs typeface="Times New Roman" panose="02020603050405020304" pitchFamily="18" charset="0"/>
              </a:rPr>
              <a:t>ộ</a:t>
            </a:r>
            <a:endParaRPr lang="en-US"/>
          </a:p>
        </p:txBody>
      </p:sp>
      <p:sp>
        <p:nvSpPr>
          <p:cNvPr id="4" name="Slide Number Placeholder 3"/>
          <p:cNvSpPr>
            <a:spLocks noGrp="1"/>
          </p:cNvSpPr>
          <p:nvPr>
            <p:ph type="sldNum" sz="quarter" idx="10"/>
          </p:nvPr>
        </p:nvSpPr>
        <p:spPr/>
        <p:txBody>
          <a:bodyPr/>
          <a:lstStyle/>
          <a:p>
            <a:fld id="{50164B4F-905B-4F99-A1EB-C2D9E4133D57}" type="slidenum">
              <a:rPr lang="vi-VN" smtClean="0"/>
              <a:t>73</a:t>
            </a:fld>
            <a:endParaRPr lang="vi-VN"/>
          </a:p>
        </p:txBody>
      </p:sp>
    </p:spTree>
    <p:extLst>
      <p:ext uri="{BB962C8B-B14F-4D97-AF65-F5344CB8AC3E}">
        <p14:creationId xmlns:p14="http://schemas.microsoft.com/office/powerpoint/2010/main" val="2357464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uy hoạch tổng thể quốc gia thời kỳ 2021 - 2030, tầm nhìn đến năm 2050 đã được Quốc hội thông qua tại Nghị quyết số 81/2023/QH15 ngày 9/1/2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latin typeface="Times New Roman" panose="02020603050405020304" pitchFamily="18" charset="0"/>
                <a:cs typeface="Times New Roman" panose="02020603050405020304" pitchFamily="18" charset="0"/>
              </a:rPr>
              <a:t>Bộ Chính trị đã ban hành Nghị quyết số 26-NQ/TW ngày 3/11/2022 về phát triển kinh tế - xã hội và bảo đảm quốc phòng, an ninh V</a:t>
            </a:r>
            <a:r>
              <a:rPr lang="vi-VN" sz="1200" b="0" i="0" kern="1200">
                <a:latin typeface="Times New Roman" panose="02020603050405020304" pitchFamily="18" charset="0"/>
                <a:cs typeface="Times New Roman" panose="02020603050405020304" pitchFamily="18" charset="0"/>
              </a:rPr>
              <a:t>ùng Bắc Trung Bộ và Duyên hải Trung B</a:t>
            </a:r>
            <a:r>
              <a:rPr lang="en-US" sz="1200" b="0" i="0" kern="1200">
                <a:latin typeface="Times New Roman" panose="02020603050405020304" pitchFamily="18" charset="0"/>
                <a:cs typeface="Times New Roman" panose="02020603050405020304" pitchFamily="18" charset="0"/>
              </a:rPr>
              <a:t>ộ</a:t>
            </a:r>
            <a:endParaRPr lang="en-US"/>
          </a:p>
        </p:txBody>
      </p:sp>
      <p:sp>
        <p:nvSpPr>
          <p:cNvPr id="4" name="Slide Number Placeholder 3"/>
          <p:cNvSpPr>
            <a:spLocks noGrp="1"/>
          </p:cNvSpPr>
          <p:nvPr>
            <p:ph type="sldNum" sz="quarter" idx="10"/>
          </p:nvPr>
        </p:nvSpPr>
        <p:spPr/>
        <p:txBody>
          <a:bodyPr/>
          <a:lstStyle/>
          <a:p>
            <a:fld id="{50164B4F-905B-4F99-A1EB-C2D9E4133D57}" type="slidenum">
              <a:rPr lang="vi-VN" smtClean="0"/>
              <a:t>74</a:t>
            </a:fld>
            <a:endParaRPr lang="vi-VN"/>
          </a:p>
        </p:txBody>
      </p:sp>
    </p:spTree>
    <p:extLst>
      <p:ext uri="{BB962C8B-B14F-4D97-AF65-F5344CB8AC3E}">
        <p14:creationId xmlns:p14="http://schemas.microsoft.com/office/powerpoint/2010/main" val="14889763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64937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b="1"/>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b="1"/>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78</a:t>
            </a:fld>
            <a:endParaRPr lang="vi-VN"/>
          </a:p>
        </p:txBody>
      </p:sp>
    </p:spTree>
    <p:extLst>
      <p:ext uri="{BB962C8B-B14F-4D97-AF65-F5344CB8AC3E}">
        <p14:creationId xmlns:p14="http://schemas.microsoft.com/office/powerpoint/2010/main" val="42474578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ập trung triển khai quyết liệt, đồng bộ các giải pháp hỗ trợ phát triển sản xuất, kinh doanh. Chủ động nắm bắt tình hình hoạt động của các doanh nghiệp; kịp thời hỗ trợ tháo gỡ khó khăn, vướng mắc để doanh nghiệp sản xuất, kinh doanh hiệu quả. Đôn đốc các nhà máy đã và đang hoạt động tiếp tục phát huy công suất; tạo điều kiện cho các nhà đầu tư đẩy nhanh tiến độ xây dựng, hoàn thành và đi vào hoạt động các dự án đã đăng ký đầu tư, nhất là dự án đầu tư xây dựng và kinh doanh cơ sở hạ tầng Khu Công nghiệp, Đô thị và Dịch vụ Becamex VSIP Bình Định; Khu liên hợp gang thép và Cảng chuyên dùng Khu liên hợp gang thép Long Sơn; Khu đô thị Khoa học và Giáo dục Quy Hòa; các dự án năng lượng tái tạo, công nghiệp, du lịch tại các khu, cụm công nghiệp trên địa bàn tỉnh.</a:t>
            </a:r>
          </a:p>
          <a:p>
            <a:r>
              <a:rPr lang="vi-VN"/>
              <a:t>Tập trung chỉ đạo đầu tư, hoàn thiện hệ thống hạ tầng kỹ thuật Khu kinh tế Nhơn Hội và các khu công nghiệp trên địa bàn tỉnh; đẩy nhanh tiến độ bồi thường, hỗ trợ, giải phóng mặt bằng, bố trí tái định cư để nhà đầu tư sớm triển khai các dự án. Khuyến khích, hỗ trợ thủ tục pháp lý, mời gọi các doanh nghiệp có năng lực tài chính đầu tư xây dựng hạ tầng các CCN, đáp ứng các điều kiện tiếp nhận các dự án sản xuất công nghiệp vào hoạt động. Củng cố và phát huy vai trò của các Hiệp hội ngành, nghề nhằm hỗ trợ cho các doanh nghiệp phát triển sản xuất kinh doanh.</a:t>
            </a:r>
          </a:p>
          <a:p>
            <a:r>
              <a:rPr lang="vi-VN"/>
              <a:t>Tiếp tục cải thiện môi trường đầu tư, kinh doanh; nâng cao năng lực cạnh tranh cho các doanh nghiệp; theo dõi, đôn đốc các doanh nghiệp đẩy mạnh sản xuất, nhất là các mặt hàng, nhóm hàng đang có lợi thế về nguyên vật liệu, thị trường tiêu thụ. Tạo điều kiện giúp các doanh nghiệp xử lý hàng tồn kho, sớm tiếp cận vốn vay của ngân hàng phục vụ phát triển sản xuất kinh doanh; đơn giản hóa thủ tục hành chính, nhất là đối với các lĩnh vực thuế, hải quan, đất đai, thành lập doanh nghiệp... nhằm giảm thời gian, chi phí cho các doanh nghiệp.</a:t>
            </a:r>
          </a:p>
          <a:p>
            <a:r>
              <a:rPr lang="vi-VN"/>
              <a:t>Rà soát các cơ chế chính sách hiện có, bổ sung một số cơ chế, chính sách mới cùng với triển khai thực hiện các chính sách của Trung ương nhằm tạo điều kiện thuận lợi cho các doanh nghiệp đẩy mạnh sản xuất, kinh doanh.</a:t>
            </a:r>
            <a:endParaRPr lang="en-US"/>
          </a:p>
          <a:p>
            <a:r>
              <a:rPr lang="en-US" b="1"/>
              <a:t>Phấn đấu thu hút mới 60 dự án trong năm 2023 (trong BQL KKT 28 dự án)</a:t>
            </a:r>
            <a:endParaRPr lang="vi-VN" b="1"/>
          </a:p>
        </p:txBody>
      </p:sp>
      <p:sp>
        <p:nvSpPr>
          <p:cNvPr id="4" name="Slide Number Placeholder 3"/>
          <p:cNvSpPr>
            <a:spLocks noGrp="1"/>
          </p:cNvSpPr>
          <p:nvPr>
            <p:ph type="sldNum" sz="quarter" idx="10"/>
          </p:nvPr>
        </p:nvSpPr>
        <p:spPr/>
        <p:txBody>
          <a:bodyPr/>
          <a:lstStyle/>
          <a:p>
            <a:fld id="{50164B4F-905B-4F99-A1EB-C2D9E4133D57}" type="slidenum">
              <a:rPr lang="vi-VN" smtClean="0"/>
              <a:t>79</a:t>
            </a:fld>
            <a:endParaRPr lang="vi-VN"/>
          </a:p>
        </p:txBody>
      </p:sp>
    </p:spTree>
    <p:extLst>
      <p:ext uri="{BB962C8B-B14F-4D97-AF65-F5344CB8AC3E}">
        <p14:creationId xmlns:p14="http://schemas.microsoft.com/office/powerpoint/2010/main" val="38253506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ập trung triển khai quyết liệt, đồng bộ các giải pháp hỗ trợ phát triển sản xuất, kinh doanh. Chủ động nắm bắt tình hình hoạt động của các doanh nghiệp; kịp thời hỗ trợ tháo gỡ khó khăn, vướng mắc để doanh nghiệp sản xuất, kinh doanh hiệu quả. Đôn đốc các nhà máy đã và đang hoạt động tiếp tục phát huy công suất; tạo điều kiện cho các nhà đầu tư đẩy nhanh tiến độ xây dựng, hoàn thành và đi vào hoạt động các dự án đã đăng ký đầu tư, nhất là dự án đầu tư xây dựng và kinh doanh cơ sở hạ tầng Khu Công nghiệp, Đô thị và Dịch vụ Becamex VSIP Bình Định; Khu liên hợp gang thép và Cảng chuyên dùng Khu liên hợp gang thép Long Sơn; Khu đô thị Khoa học và Giáo dục Quy Hòa; các dự án năng lượng tái tạo, công nghiệp, du lịch tại các khu, cụm công nghiệp trên địa bàn tỉnh.</a:t>
            </a:r>
          </a:p>
          <a:p>
            <a:r>
              <a:rPr lang="vi-VN"/>
              <a:t>Tập trung chỉ đạo đầu tư, hoàn thiện hệ thống hạ tầng kỹ thuật Khu kinh tế Nhơn Hội và các khu công nghiệp trên địa bàn tỉnh; đẩy nhanh tiến độ bồi thường, hỗ trợ, giải phóng mặt bằng, bố trí tái định cư để nhà đầu tư sớm triển khai các dự án. Khuyến khích, hỗ trợ thủ tục pháp lý, mời gọi các doanh nghiệp có năng lực tài chính đầu tư xây dựng hạ tầng các CCN, đáp ứng các điều kiện tiếp nhận các dự án sản xuất công nghiệp vào hoạt động. Củng cố và phát huy vai trò của các Hiệp hội ngành, nghề nhằm hỗ trợ cho các doanh nghiệp phát triển sản xuất kinh doanh.</a:t>
            </a:r>
          </a:p>
          <a:p>
            <a:r>
              <a:rPr lang="vi-VN"/>
              <a:t>Tiếp tục cải thiện môi trường đầu tư, kinh doanh; nâng cao năng lực cạnh tranh cho các doanh nghiệp; theo dõi, đôn đốc các doanh nghiệp đẩy mạnh sản xuất, nhất là các mặt hàng, nhóm hàng đang có lợi thế về nguyên vật liệu, thị trường tiêu thụ. Tạo điều kiện giúp các doanh nghiệp xử lý hàng tồn kho, sớm tiếp cận vốn vay của ngân hàng phục vụ phát triển sản xuất kinh doanh; đơn giản hóa thủ tục hành chính, nhất là đối với các lĩnh vực thuế, hải quan, đất đai, thành lập doanh nghiệp... nhằm giảm thời gian, chi phí cho các doanh nghiệp.</a:t>
            </a:r>
          </a:p>
          <a:p>
            <a:r>
              <a:rPr lang="vi-VN"/>
              <a:t>Rà soát các cơ chế chính sách hiện có, bổ sung một số cơ chế, chính sách mới cùng với triển khai thực hiện các chính sách của Trung ương nhằm tạo điều kiện thuận lợi cho các doanh nghiệp đẩy mạnh sản xuất, kinh doanh.</a:t>
            </a:r>
            <a:endParaRPr lang="en-US"/>
          </a:p>
          <a:p>
            <a:r>
              <a:rPr lang="en-US" b="1"/>
              <a:t>Phấn đấu thu hút mới 60 dự án trong năm 2023 (trong BQL KKT 28 dự án)</a:t>
            </a:r>
            <a:endParaRPr lang="vi-VN" b="1"/>
          </a:p>
        </p:txBody>
      </p:sp>
      <p:sp>
        <p:nvSpPr>
          <p:cNvPr id="4" name="Slide Number Placeholder 3"/>
          <p:cNvSpPr>
            <a:spLocks noGrp="1"/>
          </p:cNvSpPr>
          <p:nvPr>
            <p:ph type="sldNum" sz="quarter" idx="10"/>
          </p:nvPr>
        </p:nvSpPr>
        <p:spPr/>
        <p:txBody>
          <a:bodyPr/>
          <a:lstStyle/>
          <a:p>
            <a:fld id="{50164B4F-905B-4F99-A1EB-C2D9E4133D57}" type="slidenum">
              <a:rPr lang="vi-VN" smtClean="0"/>
              <a:t>80</a:t>
            </a:fld>
            <a:endParaRPr lang="vi-VN"/>
          </a:p>
        </p:txBody>
      </p:sp>
    </p:spTree>
    <p:extLst>
      <p:ext uri="{BB962C8B-B14F-4D97-AF65-F5344CB8AC3E}">
        <p14:creationId xmlns:p14="http://schemas.microsoft.com/office/powerpoint/2010/main" val="36418788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ập trung triển khai quyết liệt, đồng bộ các giải pháp hỗ trợ phát triển sản xuất, kinh doanh. Chủ động nắm bắt tình hình hoạt động của các doanh nghiệp; kịp thời hỗ trợ tháo gỡ khó khăn, vướng mắc để doanh nghiệp sản xuất, kinh doanh hiệu quả. Đôn đốc các nhà máy đã và đang hoạt động tiếp tục phát huy công suất; tạo điều kiện cho các nhà đầu tư đẩy nhanh tiến độ xây dựng, hoàn thành và đi vào hoạt động các dự án đã đăng ký đầu tư, nhất là dự án đầu tư xây dựng và kinh doanh cơ sở hạ tầng Khu Công nghiệp, Đô thị và Dịch vụ Becamex VSIP Bình Định; Khu liên hợp gang thép và Cảng chuyên dùng Khu liên hợp gang thép Long Sơn; Khu đô thị Khoa học và Giáo dục Quy Hòa; các dự án năng lượng tái tạo, công nghiệp, du lịch tại các khu, cụm công nghiệp trên địa bàn tỉnh.</a:t>
            </a:r>
          </a:p>
          <a:p>
            <a:r>
              <a:rPr lang="vi-VN"/>
              <a:t>Tập trung chỉ đạo đầu tư, hoàn thiện hệ thống hạ tầng kỹ thuật Khu kinh tế Nhơn Hội và các khu công nghiệp trên địa bàn tỉnh; đẩy nhanh tiến độ bồi thường, hỗ trợ, giải phóng mặt bằng, bố trí tái định cư để nhà đầu tư sớm triển khai các dự án. Khuyến khích, hỗ trợ thủ tục pháp lý, mời gọi các doanh nghiệp có năng lực tài chính đầu tư xây dựng hạ tầng các CCN, đáp ứng các điều kiện tiếp nhận các dự án sản xuất công nghiệp vào hoạt động. Củng cố và phát huy vai trò của các Hiệp hội ngành, nghề nhằm hỗ trợ cho các doanh nghiệp phát triển sản xuất kinh doanh.</a:t>
            </a:r>
          </a:p>
          <a:p>
            <a:r>
              <a:rPr lang="vi-VN"/>
              <a:t>Tiếp tục cải thiện môi trường đầu tư, kinh doanh; nâng cao năng lực cạnh tranh cho các doanh nghiệp; theo dõi, đôn đốc các doanh nghiệp đẩy mạnh sản xuất, nhất là các mặt hàng, nhóm hàng đang có lợi thế về nguyên vật liệu, thị trường tiêu thụ. Tạo điều kiện giúp các doanh nghiệp xử lý hàng tồn kho, sớm tiếp cận vốn vay của ngân hàng phục vụ phát triển sản xuất kinh doanh; đơn giản hóa thủ tục hành chính, nhất là đối với các lĩnh vực thuế, hải quan, đất đai, thành lập doanh nghiệp... nhằm giảm thời gian, chi phí cho các doanh nghiệp.</a:t>
            </a:r>
          </a:p>
          <a:p>
            <a:r>
              <a:rPr lang="vi-VN"/>
              <a:t>Rà soát các cơ chế chính sách hiện có, bổ sung một số cơ chế, chính sách mới cùng với triển khai thực hiện các chính sách của Trung ương nhằm tạo điều kiện thuận lợi cho các doanh nghiệp đẩy mạnh sản xuất, kinh doanh.</a:t>
            </a:r>
            <a:endParaRPr lang="en-US"/>
          </a:p>
          <a:p>
            <a:r>
              <a:rPr lang="en-US" b="1"/>
              <a:t>Phấn đấu thu hút mới 60 dự án trong năm 2023 (trong BQL KKT 28 dự án)</a:t>
            </a:r>
            <a:endParaRPr lang="vi-VN" b="1"/>
          </a:p>
        </p:txBody>
      </p:sp>
      <p:sp>
        <p:nvSpPr>
          <p:cNvPr id="4" name="Slide Number Placeholder 3"/>
          <p:cNvSpPr>
            <a:spLocks noGrp="1"/>
          </p:cNvSpPr>
          <p:nvPr>
            <p:ph type="sldNum" sz="quarter" idx="10"/>
          </p:nvPr>
        </p:nvSpPr>
        <p:spPr/>
        <p:txBody>
          <a:bodyPr/>
          <a:lstStyle/>
          <a:p>
            <a:fld id="{50164B4F-905B-4F99-A1EB-C2D9E4133D57}" type="slidenum">
              <a:rPr lang="vi-VN" smtClean="0"/>
              <a:t>81</a:t>
            </a:fld>
            <a:endParaRPr lang="vi-VN"/>
          </a:p>
        </p:txBody>
      </p:sp>
    </p:spTree>
    <p:extLst>
      <p:ext uri="{BB962C8B-B14F-4D97-AF65-F5344CB8AC3E}">
        <p14:creationId xmlns:p14="http://schemas.microsoft.com/office/powerpoint/2010/main" val="7899672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ập trung triển khai quyết liệt, đồng bộ các giải pháp hỗ trợ phát triển sản xuất, kinh doanh. Chủ động nắm bắt tình hình hoạt động của các doanh nghiệp; kịp thời hỗ trợ tháo gỡ khó khăn, vướng mắc để doanh nghiệp sản xuất, kinh doanh hiệu quả. Đôn đốc các nhà máy đã và đang hoạt động tiếp tục phát huy công suất; tạo điều kiện cho các nhà đầu tư đẩy nhanh tiến độ xây dựng, hoàn thành và đi vào hoạt động các dự án đã đăng ký đầu tư, nhất là dự án đầu tư xây dựng và kinh doanh cơ sở hạ tầng Khu Công nghiệp, Đô thị và Dịch vụ Becamex VSIP Bình Định; Khu liên hợp gang thép và Cảng chuyên dùng Khu liên hợp gang thép Long Sơn; Khu đô thị Khoa học và Giáo dục Quy Hòa; các dự án năng lượng tái tạo, công nghiệp, du lịch tại các khu, cụm công nghiệp trên địa bàn tỉnh.</a:t>
            </a:r>
          </a:p>
          <a:p>
            <a:r>
              <a:rPr lang="vi-VN"/>
              <a:t>Tập trung chỉ đạo đầu tư, hoàn thiện hệ thống hạ tầng kỹ thuật Khu kinh tế Nhơn Hội và các khu công nghiệp trên địa bàn tỉnh; đẩy nhanh tiến độ bồi thường, hỗ trợ, giải phóng mặt bằng, bố trí tái định cư để nhà đầu tư sớm triển khai các dự án. Khuyến khích, hỗ trợ thủ tục pháp lý, mời gọi các doanh nghiệp có năng lực tài chính đầu tư xây dựng hạ tầng các CCN, đáp ứng các điều kiện tiếp nhận các dự án sản xuất công nghiệp vào hoạt động. Củng cố và phát huy vai trò của các Hiệp hội ngành, nghề nhằm hỗ trợ cho các doanh nghiệp phát triển sản xuất kinh doanh.</a:t>
            </a:r>
          </a:p>
          <a:p>
            <a:r>
              <a:rPr lang="vi-VN"/>
              <a:t>Tiếp tục cải thiện môi trường đầu tư, kinh doanh; nâng cao năng lực cạnh tranh cho các doanh nghiệp; theo dõi, đôn đốc các doanh nghiệp đẩy mạnh sản xuất, nhất là các mặt hàng, nhóm hàng đang có lợi thế về nguyên vật liệu, thị trường tiêu thụ. Tạo điều kiện giúp các doanh nghiệp xử lý hàng tồn kho, sớm tiếp cận vốn vay của ngân hàng phục vụ phát triển sản xuất kinh doanh; đơn giản hóa thủ tục hành chính, nhất là đối với các lĩnh vực thuế, hải quan, đất đai, thành lập doanh nghiệp... nhằm giảm thời gian, chi phí cho các doanh nghiệp.</a:t>
            </a:r>
          </a:p>
          <a:p>
            <a:r>
              <a:rPr lang="vi-VN"/>
              <a:t>Rà soát các cơ chế chính sách hiện có, bổ sung một số cơ chế, chính sách mới cùng với triển khai thực hiện các chính sách của Trung ương nhằm tạo điều kiện thuận lợi cho các doanh nghiệp đẩy mạnh sản xuất, kinh doanh.</a:t>
            </a:r>
            <a:endParaRPr lang="en-US"/>
          </a:p>
          <a:p>
            <a:r>
              <a:rPr lang="en-US" b="1"/>
              <a:t>Phấn đấu thu hút mới 60 dự án trong năm 2023 (trong BQL KKT 28 dự án)</a:t>
            </a:r>
            <a:endParaRPr lang="vi-VN" b="1"/>
          </a:p>
        </p:txBody>
      </p:sp>
      <p:sp>
        <p:nvSpPr>
          <p:cNvPr id="4" name="Slide Number Placeholder 3"/>
          <p:cNvSpPr>
            <a:spLocks noGrp="1"/>
          </p:cNvSpPr>
          <p:nvPr>
            <p:ph type="sldNum" sz="quarter" idx="10"/>
          </p:nvPr>
        </p:nvSpPr>
        <p:spPr/>
        <p:txBody>
          <a:bodyPr/>
          <a:lstStyle/>
          <a:p>
            <a:fld id="{50164B4F-905B-4F99-A1EB-C2D9E4133D57}" type="slidenum">
              <a:rPr lang="vi-VN" smtClean="0"/>
              <a:t>82</a:t>
            </a:fld>
            <a:endParaRPr lang="vi-VN"/>
          </a:p>
        </p:txBody>
      </p:sp>
    </p:spTree>
    <p:extLst>
      <p:ext uri="{BB962C8B-B14F-4D97-AF65-F5344CB8AC3E}">
        <p14:creationId xmlns:p14="http://schemas.microsoft.com/office/powerpoint/2010/main" val="7899672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iếp tục đẩy mạnh các hoạt động thương mại, xuất khẩu; theo đó đẩy mạnh xuất khẩu các mặt hàng có lợi thế cạnh tranh, tích cực phát triển các mặt hàng có tiềm năng thành những mặt hàng xuất khẩu mới. Đẩy mạnh xuất khẩu các mặt hàng nông sản chế biến, sản phẩm gỗ, đá granite, hàng may mặc, thủ công mỹ nghệ,...</a:t>
            </a:r>
          </a:p>
          <a:p>
            <a:r>
              <a:rPr lang="vi-VN"/>
              <a:t>Thúc đẩy phát triển các hoạt động thương mại đi đôi với thực hiện tốt công tác quản lý thị trường, coi trọng công tác phát triển thị trường trong nước, thực hiện chính sách khuyến khích tiêu dùng nội địa. Tăng cường liên kết, hợp tác với các địa phương trong nước để phát triển thương mại, dịch vụ. Phát triển các cụm thương mại, dịch vụ ở các thị trấn, thị tứ và điểm dân cư nông thôn, miền núi, vùng sâu, vùng xa, góp phần đẩy mạnh lưu thông hàng hoá và đáp ứng nhu cầu đời sống nhân dân. Chú trọng tăng cường các biện pháp kiểm soát, bình ổn giá cả thị trường, chống hàng giả, hàng kém chất lượng; ngăn chặn có hiệu quả hành vi gian lận thương mại, nhập khẩu hàng hóa kém chất lượng. </a:t>
            </a:r>
            <a:r>
              <a:rPr lang="vi-VN" b="1"/>
              <a:t>Tiếp tục thực hiện cuộc vận động “Người Việt Nam ưu tiên dùng hàng Việt Nam”, đẩy mạnh tiêu thụ nông sản, sản phẩm do người dân, doanh nghiệp trên địa bàn tỉnh sản xuất với tinh thần “Người Bình Định ưu tiên dùng hàng Bình Định”. </a:t>
            </a:r>
            <a:endParaRPr lang="en-US" b="1"/>
          </a:p>
          <a:p>
            <a:r>
              <a:rPr lang="vi-VN"/>
              <a:t>Hỗ trợ các doanh nghiệp, làng nghề tiểu thủ công nghiệp tham gia hội chợ, triển lãm trong và ngoài nước, duy trì và phát triển các làng nghề tiểu thủ công nghiệp truyền thống… Thực hiện đồng bộ các giải pháp và khai thác có hiệu quả các cơ hội, các ưu đãi trong cam kết quốc tế để mở rộng thị trường xuất khẩu.</a:t>
            </a:r>
          </a:p>
        </p:txBody>
      </p:sp>
      <p:sp>
        <p:nvSpPr>
          <p:cNvPr id="4" name="Slide Number Placeholder 3"/>
          <p:cNvSpPr>
            <a:spLocks noGrp="1"/>
          </p:cNvSpPr>
          <p:nvPr>
            <p:ph type="sldNum" sz="quarter" idx="10"/>
          </p:nvPr>
        </p:nvSpPr>
        <p:spPr/>
        <p:txBody>
          <a:bodyPr/>
          <a:lstStyle/>
          <a:p>
            <a:fld id="{50164B4F-905B-4F99-A1EB-C2D9E4133D57}" type="slidenum">
              <a:rPr lang="vi-VN" smtClean="0"/>
              <a:t>83</a:t>
            </a:fld>
            <a:endParaRPr lang="vi-VN"/>
          </a:p>
        </p:txBody>
      </p:sp>
    </p:spTree>
    <p:extLst>
      <p:ext uri="{BB962C8B-B14F-4D97-AF65-F5344CB8AC3E}">
        <p14:creationId xmlns:p14="http://schemas.microsoft.com/office/powerpoint/2010/main" val="22232716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iếp tục đẩy mạnh các hoạt động thương mại, xuất khẩu; theo đó đẩy mạnh xuất khẩu các mặt hàng có lợi thế cạnh tranh, tích cực phát triển các mặt hàng có tiềm năng thành những mặt hàng xuất khẩu mới. Đẩy mạnh xuất khẩu các mặt hàng nông sản chế biến, sản phẩm gỗ, đá granite, hàng may mặc, thủ công mỹ nghệ,...</a:t>
            </a:r>
          </a:p>
          <a:p>
            <a:r>
              <a:rPr lang="vi-VN"/>
              <a:t>Thúc đẩy phát triển các hoạt động thương mại đi đôi với thực hiện tốt công tác quản lý thị trường, coi trọng công tác phát triển thị trường trong nước, thực hiện chính sách khuyến khích tiêu dùng nội địa. Tăng cường liên kết, hợp tác với các địa phương trong nước để phát triển thương mại, dịch vụ. Phát triển các cụm thương mại, dịch vụ ở các thị trấn, thị tứ và điểm dân cư nông thôn, miền núi, vùng sâu, vùng xa, góp phần đẩy mạnh lưu thông hàng hoá và đáp ứng nhu cầu đời sống nhân dân. Chú trọng tăng cường các biện pháp kiểm soát, bình ổn giá cả thị trường, chống hàng giả, hàng kém chất lượng; ngăn chặn có hiệu quả hành vi gian lận thương mại, nhập khẩu hàng hóa kém chất lượng. </a:t>
            </a:r>
            <a:r>
              <a:rPr lang="vi-VN" b="1"/>
              <a:t>Tiếp tục thực hiện cuộc vận động “Người Việt Nam ưu tiên dùng hàng Việt Nam”, đẩy mạnh tiêu thụ nông sản, sản phẩm do người dân, doanh nghiệp trên địa bàn tỉnh sản xuất với tinh thần “Người Bình Định ưu tiên dùng hàng Bình Định”. </a:t>
            </a:r>
            <a:endParaRPr lang="en-US" b="1"/>
          </a:p>
          <a:p>
            <a:r>
              <a:rPr lang="vi-VN"/>
              <a:t>Hỗ trợ các doanh nghiệp, làng nghề tiểu thủ công nghiệp tham gia hội chợ, triển lãm trong và ngoài nước, duy trì và phát triển các làng nghề tiểu thủ công nghiệp truyền thống… Thực hiện đồng bộ các giải pháp và khai thác có hiệu quả các cơ hội, các ưu đãi trong cam kết quốc tế để mở rộng thị trường xuất khẩu.</a:t>
            </a:r>
          </a:p>
        </p:txBody>
      </p:sp>
      <p:sp>
        <p:nvSpPr>
          <p:cNvPr id="4" name="Slide Number Placeholder 3"/>
          <p:cNvSpPr>
            <a:spLocks noGrp="1"/>
          </p:cNvSpPr>
          <p:nvPr>
            <p:ph type="sldNum" sz="quarter" idx="10"/>
          </p:nvPr>
        </p:nvSpPr>
        <p:spPr/>
        <p:txBody>
          <a:bodyPr/>
          <a:lstStyle/>
          <a:p>
            <a:fld id="{50164B4F-905B-4F99-A1EB-C2D9E4133D57}" type="slidenum">
              <a:rPr lang="vi-VN" smtClean="0"/>
              <a:t>84</a:t>
            </a:fld>
            <a:endParaRPr lang="vi-VN"/>
          </a:p>
        </p:txBody>
      </p:sp>
    </p:spTree>
    <p:extLst>
      <p:ext uri="{BB962C8B-B14F-4D97-AF65-F5344CB8AC3E}">
        <p14:creationId xmlns:p14="http://schemas.microsoft.com/office/powerpoint/2010/main" val="22232716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Nghiên cứu, đổi mới các hoạt động thu hút du lịch tại Quảng trường Nguyễn Tất Thành (các hoạt động văn hóa - nghệ thuật, khám phá khoa học...); các Tháp Chăm, di tích lịch sử - văn hóa trên địa bàn tỉnh nhằm thu hút khách du lịch và phục vụ đời sống tinh thần của người dân.</a:t>
            </a:r>
          </a:p>
          <a:p>
            <a:r>
              <a:rPr lang="vi-VN"/>
              <a:t>Đẩy mạnh thực hiện chương trình hợp tác phát triển du lịch với các tỉnh, thành phố có chương trình hợp tác với du lịch Bình Định; đồng thời mở rộng hợp tác với các tỉnh, thành phố trong cả nước. Tăng cường công tác quảng bá xúc tiến điểm đến du lịch Bình Định tại các thị trường khách quốc tế tiềm năng như Nhật Bản, Hàn Quốc… Phấn đấu thu hút khoảng 5 triệu lượt khách du lịch trong năm 2023.</a:t>
            </a:r>
          </a:p>
        </p:txBody>
      </p:sp>
      <p:sp>
        <p:nvSpPr>
          <p:cNvPr id="4" name="Slide Number Placeholder 3"/>
          <p:cNvSpPr>
            <a:spLocks noGrp="1"/>
          </p:cNvSpPr>
          <p:nvPr>
            <p:ph type="sldNum" sz="quarter" idx="10"/>
          </p:nvPr>
        </p:nvSpPr>
        <p:spPr/>
        <p:txBody>
          <a:bodyPr/>
          <a:lstStyle/>
          <a:p>
            <a:fld id="{50164B4F-905B-4F99-A1EB-C2D9E4133D57}" type="slidenum">
              <a:rPr lang="vi-VN" smtClean="0"/>
              <a:t>85</a:t>
            </a:fld>
            <a:endParaRPr lang="vi-VN"/>
          </a:p>
        </p:txBody>
      </p:sp>
    </p:spTree>
    <p:extLst>
      <p:ext uri="{BB962C8B-B14F-4D97-AF65-F5344CB8AC3E}">
        <p14:creationId xmlns:p14="http://schemas.microsoft.com/office/powerpoint/2010/main" val="10989281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Tăng cường công tác quản lý thu, đôn đốc thu, chống tình trạng thất thu, lạm thu, giảm nợ đọng thuế. Đảm bảo chi ngân sách theo đúng tiêu chuẩn, định mức, đồng thời, triệt để tiết kiệm chi, cắt giảm các khoản chi không thật sự cần thiết; phân bổ nguồn lực thực hiện các nhiệm vụ trọng tâm trong năm 2023, chú trọng bố trí nguồn lực cho một số lĩnh vực quan trọng phục vụ cho phát triển kinh tế - xã hội của địa phương: bảo vệ môi trường; nông, lâm, ngư nghiệp; giáo dục, đào tạo, y tế; khuyến công; thương mại dịch vụ; văn hóa, du lịch,… Tiếp tục thực hiện các giải pháp nhằm hạn chế tình trạng tín dụng đen trên địa bàn tỉnh.</a:t>
            </a:r>
          </a:p>
          <a:p>
            <a:r>
              <a:rPr lang="vi-VN"/>
              <a:t>Các Sở, ban, ngành và UBND các huyện, thị xã, thành phố tăng cường trách nhiệm quản lý thu thuế đối với lĩnh vực thuộc chức năng theo dõi, quản lý của mình, đặt biệt là lĩnh vực ngoài quốc doanh; đồng thời, phối hợp chặt chẽ và chủ động kết nối chia sẻ dữ liệu với ngành Thuế nhằm triển khai thực hiện có hiệu quả các biện pháp quản lý nguồn thu, chống thất thu ngân sách trên địa bàn tỉnh.</a:t>
            </a:r>
          </a:p>
          <a:p>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86</a:t>
            </a:fld>
            <a:endParaRPr lang="vi-VN"/>
          </a:p>
        </p:txBody>
      </p:sp>
    </p:spTree>
    <p:extLst>
      <p:ext uri="{BB962C8B-B14F-4D97-AF65-F5344CB8AC3E}">
        <p14:creationId xmlns:p14="http://schemas.microsoft.com/office/powerpoint/2010/main" val="41088592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t>
            </a:r>
            <a:r>
              <a:rPr lang="vi-VN"/>
              <a:t>ư</a:t>
            </a:r>
            <a:r>
              <a:rPr lang="en-US"/>
              <a:t>u ý các mốc thời gian giải ngân vốn đầu t</a:t>
            </a:r>
            <a:r>
              <a:rPr lang="vi-VN"/>
              <a:t>ư</a:t>
            </a:r>
            <a:r>
              <a:rPr lang="en-US"/>
              <a:t> công: 30/6 – 30/9 – 31/12 t</a:t>
            </a:r>
            <a:r>
              <a:rPr lang="vi-VN"/>
              <a:t>ư</a:t>
            </a:r>
            <a:r>
              <a:rPr lang="en-US"/>
              <a:t>ơng ứng 40 – 60 và phấn đấu 100% đến 31/12/2023.</a:t>
            </a:r>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87</a:t>
            </a:fld>
            <a:endParaRPr lang="vi-VN"/>
          </a:p>
        </p:txBody>
      </p:sp>
    </p:spTree>
    <p:extLst>
      <p:ext uri="{BB962C8B-B14F-4D97-AF65-F5344CB8AC3E}">
        <p14:creationId xmlns:p14="http://schemas.microsoft.com/office/powerpoint/2010/main" val="40250164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Nhằm không ngừng mở rộng quan hệ hợp tác quốc tế, đẩy mạnh thu hút đầu</a:t>
            </a:r>
            <a:r>
              <a:rPr lang="en-US"/>
              <a:t> </a:t>
            </a:r>
            <a:r>
              <a:rPr lang="vi-VN"/>
              <a:t>tư, phát triển thương mại, du lịch với các đối tác nước ngoài, phục vụ phát triển kinh</a:t>
            </a:r>
            <a:r>
              <a:rPr lang="en-US"/>
              <a:t> </a:t>
            </a:r>
            <a:r>
              <a:rPr lang="vi-VN"/>
              <a:t>tế - xã hội của tỉnh theo Nghị quyết Đại hội Đảng bộ tỉnh lần thứ XX đã đề ra</a:t>
            </a:r>
            <a:r>
              <a:rPr lang="en-US"/>
              <a:t>; UBND tỉnh ban hành KH 29 năm 2023; Theo đó t</a:t>
            </a:r>
            <a:r>
              <a:rPr lang="vi-VN"/>
              <a:t>rong năm 2023, tập trung tổ chức gặp gỡ, làm việc với các đại sứ quán và</a:t>
            </a:r>
            <a:r>
              <a:rPr lang="en-US"/>
              <a:t> </a:t>
            </a:r>
            <a:r>
              <a:rPr lang="vi-VN"/>
              <a:t>tổ chức, đối tác tiềm năng của các nước mà tỉnh đã thiết lập quan hệ hợp tác, hữu</a:t>
            </a:r>
            <a:r>
              <a:rPr lang="en-US"/>
              <a:t> </a:t>
            </a:r>
            <a:r>
              <a:rPr lang="vi-VN"/>
              <a:t>nghị như: Nhật Bản, Hàn Quốc, Trung Quốc, Singapore, Thái Lan, Ấn Độ, Pháp,</a:t>
            </a:r>
            <a:r>
              <a:rPr lang="en-US"/>
              <a:t> </a:t>
            </a:r>
            <a:r>
              <a:rPr lang="vi-VN"/>
              <a:t>Đức, Australia,…;</a:t>
            </a:r>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88</a:t>
            </a:fld>
            <a:endParaRPr lang="vi-VN"/>
          </a:p>
        </p:txBody>
      </p:sp>
    </p:spTree>
    <p:extLst>
      <p:ext uri="{BB962C8B-B14F-4D97-AF65-F5344CB8AC3E}">
        <p14:creationId xmlns:p14="http://schemas.microsoft.com/office/powerpoint/2010/main" val="230257699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Nhằm không ngừng mở rộng quan hệ hợp tác quốc tế, đẩy mạnh thu hút đầu</a:t>
            </a:r>
            <a:r>
              <a:rPr lang="en-US"/>
              <a:t> </a:t>
            </a:r>
            <a:r>
              <a:rPr lang="vi-VN"/>
              <a:t>tư, phát triển thương mại, du lịch với các đối tác nước ngoài, phục vụ phát triển kinh</a:t>
            </a:r>
            <a:r>
              <a:rPr lang="en-US"/>
              <a:t> </a:t>
            </a:r>
            <a:r>
              <a:rPr lang="vi-VN"/>
              <a:t>tế - xã hội của tỉnh theo Nghị quyết Đại hội Đảng bộ tỉnh lần thứ XX đã đề ra</a:t>
            </a:r>
            <a:r>
              <a:rPr lang="en-US"/>
              <a:t>; UBND tỉnh ban hành KH 29 năm 2023; Theo đó t</a:t>
            </a:r>
            <a:r>
              <a:rPr lang="vi-VN"/>
              <a:t>rong năm 2023, tập trung tổ chức gặp gỡ, làm việc với các đại sứ quán và</a:t>
            </a:r>
            <a:r>
              <a:rPr lang="en-US"/>
              <a:t> </a:t>
            </a:r>
            <a:r>
              <a:rPr lang="vi-VN"/>
              <a:t>tổ chức, đối tác tiềm năng của các nước mà tỉnh đã thiết lập quan hệ hợp tác, hữu</a:t>
            </a:r>
            <a:r>
              <a:rPr lang="en-US"/>
              <a:t> </a:t>
            </a:r>
            <a:r>
              <a:rPr lang="vi-VN"/>
              <a:t>nghị như: Nhật Bản, Hàn Quốc, Trung Quốc, Singapore, Thái Lan, Ấn Độ, Pháp,</a:t>
            </a:r>
            <a:r>
              <a:rPr lang="en-US"/>
              <a:t> </a:t>
            </a:r>
            <a:r>
              <a:rPr lang="vi-VN"/>
              <a:t>Đức, Australia,…;</a:t>
            </a:r>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89</a:t>
            </a:fld>
            <a:endParaRPr lang="vi-VN"/>
          </a:p>
        </p:txBody>
      </p:sp>
    </p:spTree>
    <p:extLst>
      <p:ext uri="{BB962C8B-B14F-4D97-AF65-F5344CB8AC3E}">
        <p14:creationId xmlns:p14="http://schemas.microsoft.com/office/powerpoint/2010/main" val="2302576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vi-VN"/>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b="1"/>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b="1"/>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90</a:t>
            </a:fld>
            <a:endParaRPr lang="vi-VN"/>
          </a:p>
        </p:txBody>
      </p:sp>
    </p:spTree>
    <p:extLst>
      <p:ext uri="{BB962C8B-B14F-4D97-AF65-F5344CB8AC3E}">
        <p14:creationId xmlns:p14="http://schemas.microsoft.com/office/powerpoint/2010/main" val="32946327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ập trung xây dựng Bộ hồ s</a:t>
            </a:r>
            <a:r>
              <a:rPr lang="vi-VN"/>
              <a:t>ơ</a:t>
            </a:r>
            <a:r>
              <a:rPr lang="en-US"/>
              <a:t> quốc gia “Võ cổ truyền Bình Định” đệ trình UNESCO ghi danh vào Danh sách Di sản văn hóa phi vật thể đại diện cho nhân loại trong năm 2023.</a:t>
            </a:r>
            <a:endParaRPr lang="en-US" dirty="0"/>
          </a:p>
        </p:txBody>
      </p:sp>
      <p:sp>
        <p:nvSpPr>
          <p:cNvPr id="4" name="Slide Number Placeholder 3"/>
          <p:cNvSpPr>
            <a:spLocks noGrp="1"/>
          </p:cNvSpPr>
          <p:nvPr>
            <p:ph type="sldNum" sz="quarter" idx="10"/>
          </p:nvPr>
        </p:nvSpPr>
        <p:spPr/>
        <p:txBody>
          <a:bodyPr/>
          <a:lstStyle/>
          <a:p>
            <a:fld id="{50164B4F-905B-4F99-A1EB-C2D9E4133D57}" type="slidenum">
              <a:rPr lang="vi-VN" smtClean="0"/>
              <a:t>91</a:t>
            </a:fld>
            <a:endParaRPr lang="vi-VN"/>
          </a:p>
        </p:txBody>
      </p:sp>
    </p:spTree>
    <p:extLst>
      <p:ext uri="{BB962C8B-B14F-4D97-AF65-F5344CB8AC3E}">
        <p14:creationId xmlns:p14="http://schemas.microsoft.com/office/powerpoint/2010/main" val="185758441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ỉ số cải cách hành chính (Chỉ số PAR INDEX) </a:t>
            </a:r>
          </a:p>
          <a:p>
            <a:r>
              <a:rPr lang="en-US"/>
              <a:t>Chỉ số hài lòng về sự phục vụ hành chính (Chỉ số SIPAS) </a:t>
            </a:r>
          </a:p>
          <a:p>
            <a:r>
              <a:rPr lang="en-US"/>
              <a:t>Chỉ số năng lực cạnh tranh cấp tỉnh PCI</a:t>
            </a:r>
          </a:p>
          <a:p>
            <a:r>
              <a:rPr lang="en-US"/>
              <a:t>Chỉ số Hiệu quả Quản trị và Hành chính công cấp tỉnh ở Việt Nam (Chỉ số PAPI).</a:t>
            </a:r>
          </a:p>
          <a:p>
            <a:r>
              <a:rPr lang="en-US"/>
              <a:t>Chỉ số đánh giá năng lực cạnh tranh cấp sở, ban, ngành và Ủy ban nhân dân các huyện, thị xã, thành phố thuộc tỉnh Bình Định (DDCI), đối với TP QN năm 2022 xếp vị trí thứ 4/11 huyện, thị xã, thành phố với số điểm trung bình 73,83 điểm.</a:t>
            </a:r>
          </a:p>
        </p:txBody>
      </p:sp>
      <p:sp>
        <p:nvSpPr>
          <p:cNvPr id="4" name="Slide Number Placeholder 3"/>
          <p:cNvSpPr>
            <a:spLocks noGrp="1"/>
          </p:cNvSpPr>
          <p:nvPr>
            <p:ph type="sldNum" sz="quarter" idx="10"/>
          </p:nvPr>
        </p:nvSpPr>
        <p:spPr/>
        <p:txBody>
          <a:bodyPr/>
          <a:lstStyle/>
          <a:p>
            <a:fld id="{50164B4F-905B-4F99-A1EB-C2D9E4133D57}" type="slidenum">
              <a:rPr lang="vi-VN" smtClean="0"/>
              <a:t>92</a:t>
            </a:fld>
            <a:endParaRPr lang="vi-VN"/>
          </a:p>
        </p:txBody>
      </p:sp>
    </p:spTree>
    <p:extLst>
      <p:ext uri="{BB962C8B-B14F-4D97-AF65-F5344CB8AC3E}">
        <p14:creationId xmlns:p14="http://schemas.microsoft.com/office/powerpoint/2010/main" val="3431578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92504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0577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082849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6/12/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6/12/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6/12/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6/12/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6/12/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6/12/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629460"/>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539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6/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6/1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6/1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6/1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6/12/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3" r:id="rId14"/>
    <p:sldLayoutId id="2147483935" r:id="rId15"/>
    <p:sldLayoutId id="2147483937" r:id="rId1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chart" Target="../charts/char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package" Target="../embeddings/Microsoft_Excel_Worksheet6.xlsx"/><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package" Target="../embeddings/Microsoft_Excel_Worksheet7.xlsx"/><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14.emf"/></Relationships>
</file>

<file path=ppt/slides/_rels/slide2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image" Target="../media/image15.jpeg"/><Relationship Id="rId1" Type="http://schemas.openxmlformats.org/officeDocument/2006/relationships/slideLayout" Target="../slideLayouts/slideLayout15.xml"/><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oleObject" Target="../embeddings/oleObject5.bin"/><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oleObject" Target="../embeddings/oleObject6.bin"/><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package" Target="../embeddings/Microsoft_Excel_Worksheet9.xlsx"/><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e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oleObject" Target="../embeddings/oleObject7.bin"/><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oleObject" Target="../embeddings/oleObject8.bin"/><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oleObject" Target="../embeddings/oleObject9.bin"/><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5.xml"/></Relationships>
</file>

<file path=ppt/slides/_rels/slide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5.xml"/></Relationships>
</file>

<file path=ppt/slides/_rels/slide4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package" Target="../embeddings/Microsoft_Excel_Worksheet10.xlsx"/><Relationship Id="rId1" Type="http://schemas.openxmlformats.org/officeDocument/2006/relationships/slideLayout" Target="../slideLayouts/slideLayout2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0.xml"/><Relationship Id="rId5" Type="http://schemas.openxmlformats.org/officeDocument/2006/relationships/image" Target="../media/image34.emf"/><Relationship Id="rId4" Type="http://schemas.openxmlformats.org/officeDocument/2006/relationships/image" Target="../media/image33.jpg"/></Relationships>
</file>

<file path=ppt/slides/_rels/slide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package" Target="../embeddings/Microsoft_Excel_Worksheet11.xlsx"/><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g"/><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5.xml"/></Relationships>
</file>

<file path=ppt/slides/_rels/slide5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package" Target="../embeddings/Microsoft_Excel_Worksheet12.xlsx"/><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8.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15.xml"/><Relationship Id="rId1" Type="http://schemas.openxmlformats.org/officeDocument/2006/relationships/slideLayout" Target="../slideLayouts/slideLayout28.xml"/><Relationship Id="rId4" Type="http://schemas.openxmlformats.org/officeDocument/2006/relationships/image" Target="../media/image44.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4.xml"/><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46.jp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77.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47.emf"/></Relationships>
</file>

<file path=ppt/slides/_rels/slide7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8.xml"/><Relationship Id="rId1" Type="http://schemas.openxmlformats.org/officeDocument/2006/relationships/slideLayout" Target="../slideLayouts/slideLayout15.xml"/><Relationship Id="rId6" Type="http://schemas.openxmlformats.org/officeDocument/2006/relationships/diagramColors" Target="../diagrams/colors4.xml"/><Relationship Id="rId5" Type="http://schemas.openxmlformats.org/officeDocument/2006/relationships/diagramQuickStyle" Target="../diagrams/quickStyle4.xml"/><Relationship Id="rId10" Type="http://schemas.openxmlformats.org/officeDocument/2006/relationships/image" Target="../media/image50.jpeg"/><Relationship Id="rId4" Type="http://schemas.openxmlformats.org/officeDocument/2006/relationships/diagramLayout" Target="../diagrams/layout4.xml"/><Relationship Id="rId9" Type="http://schemas.openxmlformats.org/officeDocument/2006/relationships/image" Target="../media/image49.jpg"/></Relationships>
</file>

<file path=ppt/slides/_rels/slide79.xml.rels><?xml version="1.0" encoding="UTF-8" standalone="yes"?>
<Relationships xmlns="http://schemas.openxmlformats.org/package/2006/relationships"><Relationship Id="rId8" Type="http://schemas.openxmlformats.org/officeDocument/2006/relationships/image" Target="../media/image51.jp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1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80.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0.xml"/><Relationship Id="rId1" Type="http://schemas.openxmlformats.org/officeDocument/2006/relationships/slideLayout" Target="../slideLayouts/slideLayout1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1.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1.xml"/><Relationship Id="rId1" Type="http://schemas.openxmlformats.org/officeDocument/2006/relationships/slideLayout" Target="../slideLayouts/slideLayout1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 Id="rId9" Type="http://schemas.openxmlformats.org/officeDocument/2006/relationships/image" Target="../media/image54.jpg"/></Relationships>
</file>

<file path=ppt/slides/_rels/slide82.xml.rels><?xml version="1.0" encoding="UTF-8" standalone="yes"?>
<Relationships xmlns="http://schemas.openxmlformats.org/package/2006/relationships"><Relationship Id="rId8" Type="http://schemas.openxmlformats.org/officeDocument/2006/relationships/image" Target="../media/image54.jp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2.xml"/><Relationship Id="rId1" Type="http://schemas.openxmlformats.org/officeDocument/2006/relationships/slideLayout" Target="../slideLayouts/slideLayout1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55.png"/></Relationships>
</file>

<file path=ppt/slides/_rels/slide83.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 Id="rId9" Type="http://schemas.openxmlformats.org/officeDocument/2006/relationships/image" Target="../media/image57.jpg"/></Relationships>
</file>

<file path=ppt/slides/_rels/slide84.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4.xml"/><Relationship Id="rId1" Type="http://schemas.openxmlformats.org/officeDocument/2006/relationships/slideLayout" Target="../slideLayouts/slideLayout1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 Id="rId9" Type="http://schemas.openxmlformats.org/officeDocument/2006/relationships/image" Target="../media/image57.jpg"/></Relationships>
</file>

<file path=ppt/slides/_rels/slide8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5.xml"/><Relationship Id="rId1" Type="http://schemas.openxmlformats.org/officeDocument/2006/relationships/slideLayout" Target="../slideLayouts/slideLayout15.xml"/><Relationship Id="rId6" Type="http://schemas.openxmlformats.org/officeDocument/2006/relationships/image" Target="../media/image38.jpg"/><Relationship Id="rId5" Type="http://schemas.openxmlformats.org/officeDocument/2006/relationships/image" Target="../media/image61.jpeg"/><Relationship Id="rId4" Type="http://schemas.openxmlformats.org/officeDocument/2006/relationships/image" Target="../media/image60.jpeg"/></Relationships>
</file>

<file path=ppt/slides/_rels/slide86.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6.xml"/><Relationship Id="rId1" Type="http://schemas.openxmlformats.org/officeDocument/2006/relationships/slideLayout" Target="../slideLayouts/slideLayout1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 Id="rId9" Type="http://schemas.openxmlformats.org/officeDocument/2006/relationships/image" Target="../media/image63.jpg"/></Relationships>
</file>

<file path=ppt/slides/_rels/slide87.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7.xml"/><Relationship Id="rId1" Type="http://schemas.openxmlformats.org/officeDocument/2006/relationships/slideLayout" Target="../slideLayouts/slideLayout1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 Id="rId9" Type="http://schemas.openxmlformats.org/officeDocument/2006/relationships/image" Target="../media/image65.jpg"/></Relationships>
</file>

<file path=ppt/slides/_rels/slide88.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8.xml"/><Relationship Id="rId1" Type="http://schemas.openxmlformats.org/officeDocument/2006/relationships/slideLayout" Target="../slideLayouts/slideLayout15.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89.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40.xml"/><Relationship Id="rId1" Type="http://schemas.openxmlformats.org/officeDocument/2006/relationships/slideLayout" Target="../slideLayouts/slideLayout15.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91.xml.rels><?xml version="1.0" encoding="UTF-8" standalone="yes"?>
<Relationships xmlns="http://schemas.openxmlformats.org/package/2006/relationships"><Relationship Id="rId8" Type="http://schemas.openxmlformats.org/officeDocument/2006/relationships/image" Target="../media/image66.jpg"/><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41.xml"/><Relationship Id="rId1" Type="http://schemas.openxmlformats.org/officeDocument/2006/relationships/slideLayout" Target="../slideLayouts/slideLayout15.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 Id="rId9" Type="http://schemas.openxmlformats.org/officeDocument/2006/relationships/image" Target="../media/image67.png"/></Relationships>
</file>

<file path=ppt/slides/_rels/slide92.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42.xml"/><Relationship Id="rId1" Type="http://schemas.openxmlformats.org/officeDocument/2006/relationships/slideLayout" Target="../slideLayouts/slideLayout15.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1" y="-117857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11061" y="2749142"/>
            <a:ext cx="8934275" cy="830997"/>
          </a:xfrm>
          <a:prstGeom prst="rect">
            <a:avLst/>
          </a:prstGeom>
        </p:spPr>
        <p:txBody>
          <a:bodyPr wrap="square">
            <a:spAutoFit/>
          </a:bodyPr>
          <a:lstStyle/>
          <a:p>
            <a:pPr algn="ctr"/>
            <a:r>
              <a:rPr lang="vi-VN" sz="2400" b="1">
                <a:solidFill>
                  <a:schemeClr val="bg1"/>
                </a:solidFill>
                <a:latin typeface="Times New Roman" panose="02020603050405020304" pitchFamily="18" charset="0"/>
                <a:cs typeface="Times New Roman" panose="02020603050405020304" pitchFamily="18" charset="0"/>
              </a:rPr>
              <a:t>TÌNH </a:t>
            </a:r>
            <a:r>
              <a:rPr lang="vi-VN" sz="2400" b="1" dirty="0">
                <a:solidFill>
                  <a:schemeClr val="bg1"/>
                </a:solidFill>
                <a:latin typeface="Times New Roman" panose="02020603050405020304" pitchFamily="18" charset="0"/>
                <a:cs typeface="Times New Roman" panose="02020603050405020304" pitchFamily="18" charset="0"/>
              </a:rPr>
              <a:t>HÌNH KINH TẾ-XÃ </a:t>
            </a:r>
            <a:r>
              <a:rPr lang="vi-VN" sz="2400" b="1">
                <a:solidFill>
                  <a:schemeClr val="bg1"/>
                </a:solidFill>
                <a:latin typeface="Times New Roman" panose="02020603050405020304" pitchFamily="18" charset="0"/>
                <a:cs typeface="Times New Roman" panose="02020603050405020304" pitchFamily="18" charset="0"/>
              </a:rPr>
              <a:t>HỘI 6 THÁNG ĐẦU NĂM</a:t>
            </a:r>
            <a:endParaRPr lang="vi-VN" sz="2400" b="1" dirty="0">
              <a:solidFill>
                <a:schemeClr val="bg1"/>
              </a:solidFill>
              <a:latin typeface="Times New Roman" panose="02020603050405020304" pitchFamily="18" charset="0"/>
              <a:cs typeface="Times New Roman" panose="02020603050405020304" pitchFamily="18" charset="0"/>
            </a:endParaRPr>
          </a:p>
          <a:p>
            <a:pPr algn="ctr"/>
            <a:r>
              <a:rPr lang="vi-VN" sz="2400" b="1" dirty="0">
                <a:solidFill>
                  <a:schemeClr val="bg1"/>
                </a:solidFill>
                <a:latin typeface="Times New Roman" panose="02020603050405020304" pitchFamily="18" charset="0"/>
                <a:cs typeface="Times New Roman" panose="02020603050405020304" pitchFamily="18" charset="0"/>
              </a:rPr>
              <a:t>VÀ NHIỆM VỤ TRỌNG </a:t>
            </a:r>
            <a:r>
              <a:rPr lang="vi-VN" sz="2400" b="1">
                <a:solidFill>
                  <a:schemeClr val="bg1"/>
                </a:solidFill>
                <a:latin typeface="Times New Roman" panose="02020603050405020304" pitchFamily="18" charset="0"/>
                <a:cs typeface="Times New Roman" panose="02020603050405020304" pitchFamily="18" charset="0"/>
              </a:rPr>
              <a:t>TÂM 6 THÁNG CUỐI NĂM </a:t>
            </a:r>
            <a:r>
              <a:rPr lang="vi-VN" sz="2400" b="1" dirty="0">
                <a:solidFill>
                  <a:schemeClr val="bg1"/>
                </a:solidFill>
                <a:latin typeface="Times New Roman" panose="02020603050405020304" pitchFamily="18" charset="0"/>
                <a:cs typeface="Times New Roman" panose="02020603050405020304" pitchFamily="18" charset="0"/>
              </a:rPr>
              <a:t>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text, screenshot, font, number&#10;&#10;Description automatically generated">
            <a:extLst>
              <a:ext uri="{FF2B5EF4-FFF2-40B4-BE49-F238E27FC236}">
                <a16:creationId xmlns:a16="http://schemas.microsoft.com/office/drawing/2014/main" id="{54589062-7E5F-E6B5-0008-DE4C5F8C8A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0641" y="920307"/>
            <a:ext cx="9064681" cy="4116256"/>
          </a:xfrm>
          <a:prstGeom prst="rect">
            <a:avLst/>
          </a:prstGeom>
        </p:spPr>
      </p:pic>
      <p:sp>
        <p:nvSpPr>
          <p:cNvPr id="2" name="Rectangle 1"/>
          <p:cNvSpPr/>
          <p:nvPr/>
        </p:nvSpPr>
        <p:spPr>
          <a:xfrm>
            <a:off x="602897" y="5186526"/>
            <a:ext cx="11085227" cy="923330"/>
          </a:xfrm>
          <a:prstGeom prst="rect">
            <a:avLst/>
          </a:prstGeom>
        </p:spPr>
        <p:txBody>
          <a:bodyPr wrap="square">
            <a:spAutoFit/>
          </a:bodyPr>
          <a:lstStyle/>
          <a:p>
            <a:pPr marL="342900" lvl="0" indent="-342900" algn="just" defTabSz="1219170">
              <a:spcAft>
                <a:spcPts val="1200"/>
              </a:spcAft>
              <a:buFont typeface="Wingdings" panose="05000000000000000000" pitchFamily="2" charset="2"/>
              <a:buChar char="Ø"/>
              <a:defRPr/>
            </a:pPr>
            <a:r>
              <a:rPr lang="en-US">
                <a:solidFill>
                  <a:schemeClr val="dk1"/>
                </a:solidFill>
                <a:latin typeface="Times New Roman" panose="02020603050405020304" pitchFamily="18" charset="0"/>
                <a:cs typeface="Times New Roman" panose="02020603050405020304" pitchFamily="18" charset="0"/>
              </a:rPr>
              <a:t>Như vậy tốc độ tăng GRDP 6 tháng đầu năm 2023 thấp hơn tốc độ tăng của hai năm trước. Tuy nhiên, so với 5 tỉnh vùng Kinh tế trọng điểm miền Trung thì tỉnh Bình Định vẫn đứng thứ 2, chỉ sau Thừa Thiên Huế (6,51%), và xếp thứ 9 trong Vùng Bắc Trung bộ và duyên hải Trung Bộ. So về quy mô thì Bình Định xếp thứ 6.</a:t>
            </a:r>
          </a:p>
        </p:txBody>
      </p:sp>
      <p:sp>
        <p:nvSpPr>
          <p:cNvPr id="3" name="TextBox 2">
            <a:extLst>
              <a:ext uri="{FF2B5EF4-FFF2-40B4-BE49-F238E27FC236}">
                <a16:creationId xmlns:a16="http://schemas.microsoft.com/office/drawing/2014/main" id="{98B36CA8-0466-6E21-63C6-933CF348F495}"/>
              </a:ext>
            </a:extLst>
          </p:cNvPr>
          <p:cNvSpPr txBox="1"/>
          <p:nvPr/>
        </p:nvSpPr>
        <p:spPr>
          <a:xfrm>
            <a:off x="647859" y="308679"/>
            <a:ext cx="1154414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4) Tốc độ tăng GRDP 6 tháng đầu năm 2023 so với cùng kỳ các năm 2021 và 2022</a:t>
            </a:r>
          </a:p>
        </p:txBody>
      </p:sp>
    </p:spTree>
    <p:extLst>
      <p:ext uri="{BB962C8B-B14F-4D97-AF65-F5344CB8AC3E}">
        <p14:creationId xmlns:p14="http://schemas.microsoft.com/office/powerpoint/2010/main" val="1637952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extLst>
              <p:ext uri="{D42A27DB-BD31-4B8C-83A1-F6EECF244321}">
                <p14:modId xmlns:p14="http://schemas.microsoft.com/office/powerpoint/2010/main" val="2997434036"/>
              </p:ext>
            </p:extLst>
          </p:nvPr>
        </p:nvGraphicFramePr>
        <p:xfrm>
          <a:off x="6482573" y="1736521"/>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7261590" y="5774035"/>
            <a:ext cx="377561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CƠ CẤU KINH TẾ 6 THÁNG 2023</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extLst>
              <p:ext uri="{D42A27DB-BD31-4B8C-83A1-F6EECF244321}">
                <p14:modId xmlns:p14="http://schemas.microsoft.com/office/powerpoint/2010/main" val="3952748256"/>
              </p:ext>
            </p:extLst>
          </p:nvPr>
        </p:nvGraphicFramePr>
        <p:xfrm>
          <a:off x="629174" y="1736521"/>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1245067" y="5751277"/>
            <a:ext cx="431638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CƠ CẤU KINH TẾ 6 THÁNG 2022</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754118" y="515639"/>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Cơ cấu GRDP 6 tháng đầu năm 2023 so với cùng kỳ năm 2022</a:t>
            </a:r>
          </a:p>
        </p:txBody>
      </p:sp>
    </p:spTree>
    <p:extLst>
      <p:ext uri="{BB962C8B-B14F-4D97-AF65-F5344CB8AC3E}">
        <p14:creationId xmlns:p14="http://schemas.microsoft.com/office/powerpoint/2010/main" val="1689242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94888" y="14029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9CC5DA20-2217-BBB5-ABE1-A4802EFDECC4}"/>
              </a:ext>
            </a:extLst>
          </p:cNvPr>
          <p:cNvSpPr txBox="1"/>
          <p:nvPr/>
        </p:nvSpPr>
        <p:spPr>
          <a:xfrm>
            <a:off x="1054077" y="431565"/>
            <a:ext cx="961467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1. Kết quả thực hiện các chỉ tiêu UBND tỉnh giao của từng địa phương</a:t>
            </a:r>
          </a:p>
        </p:txBody>
      </p:sp>
      <p:sp>
        <p:nvSpPr>
          <p:cNvPr id="9" name="TextBox 8">
            <a:extLst>
              <a:ext uri="{FF2B5EF4-FFF2-40B4-BE49-F238E27FC236}">
                <a16:creationId xmlns:a16="http://schemas.microsoft.com/office/drawing/2014/main" id="{40C78561-6569-FD6F-70AA-562A2ACA1844}"/>
              </a:ext>
            </a:extLst>
          </p:cNvPr>
          <p:cNvSpPr txBox="1"/>
          <p:nvPr/>
        </p:nvSpPr>
        <p:spPr>
          <a:xfrm>
            <a:off x="8030073" y="362406"/>
            <a:ext cx="3895901"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THÀNH </a:t>
            </a:r>
            <a:r>
              <a:rPr lang="vi-VN" sz="2400" b="1" dirty="0">
                <a:solidFill>
                  <a:srgbClr val="FF0000"/>
                </a:solidFill>
                <a:latin typeface="+mj-lt"/>
                <a:cs typeface="Arial" panose="020B0604020202020204" pitchFamily="34" charset="0"/>
              </a:rPr>
              <a:t>PHỐ QUY NHƠN</a:t>
            </a:r>
          </a:p>
        </p:txBody>
      </p:sp>
      <p:graphicFrame>
        <p:nvGraphicFramePr>
          <p:cNvPr id="10" name="Table 9">
            <a:extLst>
              <a:ext uri="{FF2B5EF4-FFF2-40B4-BE49-F238E27FC236}">
                <a16:creationId xmlns:a16="http://schemas.microsoft.com/office/drawing/2014/main" id="{49A86850-CEFC-B0CC-86EB-C8AB4B4D243D}"/>
              </a:ext>
            </a:extLst>
          </p:cNvPr>
          <p:cNvGraphicFramePr>
            <a:graphicFrameLocks noGrp="1"/>
          </p:cNvGraphicFramePr>
          <p:nvPr>
            <p:extLst>
              <p:ext uri="{D42A27DB-BD31-4B8C-83A1-F6EECF244321}">
                <p14:modId xmlns:p14="http://schemas.microsoft.com/office/powerpoint/2010/main" val="2300772247"/>
              </p:ext>
            </p:extLst>
          </p:nvPr>
        </p:nvGraphicFramePr>
        <p:xfrm>
          <a:off x="461906" y="813283"/>
          <a:ext cx="11216081" cy="5982514"/>
        </p:xfrm>
        <a:graphic>
          <a:graphicData uri="http://schemas.openxmlformats.org/drawingml/2006/table">
            <a:tbl>
              <a:tblPr>
                <a:tableStyleId>{5C22544A-7EE6-4342-B048-85BDC9FD1C3A}</a:tableStyleId>
              </a:tblPr>
              <a:tblGrid>
                <a:gridCol w="886607">
                  <a:extLst>
                    <a:ext uri="{9D8B030D-6E8A-4147-A177-3AD203B41FA5}">
                      <a16:colId xmlns:a16="http://schemas.microsoft.com/office/drawing/2014/main" val="20000"/>
                    </a:ext>
                  </a:extLst>
                </a:gridCol>
                <a:gridCol w="2542310">
                  <a:extLst>
                    <a:ext uri="{9D8B030D-6E8A-4147-A177-3AD203B41FA5}">
                      <a16:colId xmlns:a16="http://schemas.microsoft.com/office/drawing/2014/main" val="20001"/>
                    </a:ext>
                  </a:extLst>
                </a:gridCol>
                <a:gridCol w="833195">
                  <a:extLst>
                    <a:ext uri="{9D8B030D-6E8A-4147-A177-3AD203B41FA5}">
                      <a16:colId xmlns:a16="http://schemas.microsoft.com/office/drawing/2014/main" val="20002"/>
                    </a:ext>
                  </a:extLst>
                </a:gridCol>
                <a:gridCol w="1249791">
                  <a:extLst>
                    <a:ext uri="{9D8B030D-6E8A-4147-A177-3AD203B41FA5}">
                      <a16:colId xmlns:a16="http://schemas.microsoft.com/office/drawing/2014/main" val="20003"/>
                    </a:ext>
                  </a:extLst>
                </a:gridCol>
                <a:gridCol w="865239">
                  <a:extLst>
                    <a:ext uri="{9D8B030D-6E8A-4147-A177-3AD203B41FA5}">
                      <a16:colId xmlns:a16="http://schemas.microsoft.com/office/drawing/2014/main" val="20004"/>
                    </a:ext>
                  </a:extLst>
                </a:gridCol>
                <a:gridCol w="918650">
                  <a:extLst>
                    <a:ext uri="{9D8B030D-6E8A-4147-A177-3AD203B41FA5}">
                      <a16:colId xmlns:a16="http://schemas.microsoft.com/office/drawing/2014/main" val="20005"/>
                    </a:ext>
                  </a:extLst>
                </a:gridCol>
                <a:gridCol w="918650">
                  <a:extLst>
                    <a:ext uri="{9D8B030D-6E8A-4147-A177-3AD203B41FA5}">
                      <a16:colId xmlns:a16="http://schemas.microsoft.com/office/drawing/2014/main" val="20006"/>
                    </a:ext>
                  </a:extLst>
                </a:gridCol>
                <a:gridCol w="886607">
                  <a:extLst>
                    <a:ext uri="{9D8B030D-6E8A-4147-A177-3AD203B41FA5}">
                      <a16:colId xmlns:a16="http://schemas.microsoft.com/office/drawing/2014/main" val="20007"/>
                    </a:ext>
                  </a:extLst>
                </a:gridCol>
                <a:gridCol w="1057516">
                  <a:extLst>
                    <a:ext uri="{9D8B030D-6E8A-4147-A177-3AD203B41FA5}">
                      <a16:colId xmlns:a16="http://schemas.microsoft.com/office/drawing/2014/main" val="20008"/>
                    </a:ext>
                  </a:extLst>
                </a:gridCol>
                <a:gridCol w="1057516">
                  <a:extLst>
                    <a:ext uri="{9D8B030D-6E8A-4147-A177-3AD203B41FA5}">
                      <a16:colId xmlns:a16="http://schemas.microsoft.com/office/drawing/2014/main" val="20009"/>
                    </a:ext>
                  </a:extLst>
                </a:gridCol>
              </a:tblGrid>
              <a:tr h="279311">
                <a:tc rowSpan="2">
                  <a:txBody>
                    <a:bodyPr/>
                    <a:lstStyle/>
                    <a:p>
                      <a:pPr algn="ctr" fontAlgn="ctr"/>
                      <a:r>
                        <a:rPr lang="en-US" sz="1050" b="1" u="none" strike="noStrike" dirty="0" err="1">
                          <a:effectLst/>
                          <a:latin typeface="Times New Roman" panose="02020603050405020304" pitchFamily="18" charset="0"/>
                          <a:cs typeface="Times New Roman" panose="02020603050405020304" pitchFamily="18" charset="0"/>
                        </a:rPr>
                        <a:t>STT</a:t>
                      </a:r>
                      <a:endParaRPr lang="en-US"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050" b="1" u="none" strike="noStrike">
                          <a:effectLst/>
                          <a:latin typeface="Times New Roman" panose="02020603050405020304" pitchFamily="18" charset="0"/>
                          <a:cs typeface="Times New Roman" panose="02020603050405020304" pitchFamily="18" charset="0"/>
                        </a:rPr>
                        <a:t>Chỉ tiêu</a:t>
                      </a:r>
                      <a:endParaRPr lang="en-US"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050" b="1" u="none" strike="noStrike">
                          <a:effectLst/>
                          <a:latin typeface="Times New Roman" panose="02020603050405020304" pitchFamily="18" charset="0"/>
                          <a:cs typeface="Times New Roman" panose="02020603050405020304" pitchFamily="18" charset="0"/>
                        </a:rPr>
                        <a:t>Đơn vị tính</a:t>
                      </a:r>
                      <a:endParaRPr lang="vi-VN"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050" b="1" u="none" strike="noStrike">
                          <a:effectLst/>
                          <a:latin typeface="Times New Roman" panose="02020603050405020304" pitchFamily="18" charset="0"/>
                          <a:cs typeface="Times New Roman" panose="02020603050405020304" pitchFamily="18" charset="0"/>
                        </a:rPr>
                        <a:t>Kế hoạch năm 2023 UBND tỉnh thông báo</a:t>
                      </a:r>
                      <a:endParaRPr lang="vi-VN"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050" b="1" u="none" strike="noStrike">
                          <a:effectLst/>
                          <a:latin typeface="Times New Roman" panose="02020603050405020304" pitchFamily="18" charset="0"/>
                          <a:cs typeface="Times New Roman" panose="02020603050405020304" pitchFamily="18" charset="0"/>
                        </a:rPr>
                        <a:t>Kế hoạch năm 2023 UBND cấp huyện giao</a:t>
                      </a:r>
                      <a:endParaRPr lang="vi-VN"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05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050" b="1" u="none" strike="noStrike" dirty="0">
                          <a:effectLst/>
                          <a:latin typeface="Times New Roman" panose="02020603050405020304" pitchFamily="18" charset="0"/>
                          <a:cs typeface="Times New Roman" panose="02020603050405020304" pitchFamily="18" charset="0"/>
                        </a:rPr>
                        <a:t>Lũy kế 6 tháng đầu năm</a:t>
                      </a:r>
                      <a:endParaRPr lang="vi-VN"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55505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050" b="1" u="none" strike="noStrike">
                          <a:effectLst/>
                          <a:latin typeface="Times New Roman" panose="02020603050405020304" pitchFamily="18" charset="0"/>
                          <a:cs typeface="Times New Roman" panose="02020603050405020304" pitchFamily="18" charset="0"/>
                        </a:rPr>
                        <a:t>Quý I</a:t>
                      </a:r>
                      <a:endParaRPr lang="en-US"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1" u="none" strike="noStrike">
                          <a:effectLst/>
                          <a:latin typeface="Times New Roman" panose="02020603050405020304" pitchFamily="18" charset="0"/>
                          <a:cs typeface="Times New Roman" panose="02020603050405020304" pitchFamily="18" charset="0"/>
                        </a:rPr>
                        <a:t>Quý II</a:t>
                      </a:r>
                      <a:endParaRPr lang="en-US"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b="1" u="none" strike="noStrike">
                          <a:effectLst/>
                          <a:latin typeface="Times New Roman" panose="02020603050405020304" pitchFamily="18" charset="0"/>
                          <a:cs typeface="Times New Roman" panose="02020603050405020304" pitchFamily="18" charset="0"/>
                        </a:rPr>
                        <a:t>Lũy kế 6 tháng đầu năm</a:t>
                      </a:r>
                      <a:endParaRPr lang="vi-VN"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50" b="1" u="none" strike="noStrike">
                          <a:effectLst/>
                          <a:latin typeface="Times New Roman" panose="02020603050405020304" pitchFamily="18" charset="0"/>
                          <a:cs typeface="Times New Roman" panose="02020603050405020304" pitchFamily="18" charset="0"/>
                        </a:rPr>
                        <a:t>So với cùng kỳ</a:t>
                      </a:r>
                      <a:endParaRPr lang="en-US" sz="105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5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05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143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0,032,87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1,897,33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521,51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924,7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27,446,27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3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5.72</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51,6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72,6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6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9,7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0,3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792,1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7,571,4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58,28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269,11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627,4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1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380,1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581,0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40,2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82,4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722,7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8.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411,9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90,3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18,0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86,6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04,6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7.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ịc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ụ</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089,1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153,2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812,6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05,8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18,4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4143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2.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3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3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3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86.4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20,9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82,1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1.8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9.4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1.3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 Thu tiền sử dụng đất</a:t>
                      </a:r>
                      <a:endParaRPr lang="vi-VN"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2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9.9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6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7.5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793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84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99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588,5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277,4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866,0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118.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793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Đang thực hiện</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Đang thực hiện</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Đang thực hiện</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Đang thực hiện</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0,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0,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Đang</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thực</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hiệ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2.1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2.1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7,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414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793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9,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793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26" marR="4726" marT="47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10612918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4674542" y="314623"/>
            <a:ext cx="2842915"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THỊ XÃ AN NHƠN</a:t>
            </a:r>
          </a:p>
        </p:txBody>
      </p:sp>
      <p:graphicFrame>
        <p:nvGraphicFramePr>
          <p:cNvPr id="4" name="Object 3">
            <a:extLst>
              <a:ext uri="{FF2B5EF4-FFF2-40B4-BE49-F238E27FC236}">
                <a16:creationId xmlns:a16="http://schemas.microsoft.com/office/drawing/2014/main" id="{CB125874-AF46-08B5-FA85-D0900844E51C}"/>
              </a:ext>
            </a:extLst>
          </p:cNvPr>
          <p:cNvGraphicFramePr>
            <a:graphicFrameLocks noChangeAspect="1"/>
          </p:cNvGraphicFramePr>
          <p:nvPr>
            <p:extLst>
              <p:ext uri="{D42A27DB-BD31-4B8C-83A1-F6EECF244321}">
                <p14:modId xmlns:p14="http://schemas.microsoft.com/office/powerpoint/2010/main" val="2560170855"/>
              </p:ext>
            </p:extLst>
          </p:nvPr>
        </p:nvGraphicFramePr>
        <p:xfrm>
          <a:off x="1073792" y="767898"/>
          <a:ext cx="10216508" cy="5906017"/>
        </p:xfrm>
        <a:graphic>
          <a:graphicData uri="http://schemas.openxmlformats.org/presentationml/2006/ole">
            <mc:AlternateContent xmlns:mc="http://schemas.openxmlformats.org/markup-compatibility/2006">
              <mc:Choice xmlns:v="urn:schemas-microsoft-com:vml" Requires="v">
                <p:oleObj name="Worksheet" r:id="rId2" imgW="12592080" imgH="8724887" progId="Excel.Sheet.12">
                  <p:embed/>
                </p:oleObj>
              </mc:Choice>
              <mc:Fallback>
                <p:oleObj name="Worksheet" r:id="rId2" imgW="12592080" imgH="8724887" progId="Excel.Sheet.12">
                  <p:embed/>
                  <p:pic>
                    <p:nvPicPr>
                      <p:cNvPr id="4" name="Object 3">
                        <a:extLst>
                          <a:ext uri="{FF2B5EF4-FFF2-40B4-BE49-F238E27FC236}">
                            <a16:creationId xmlns:a16="http://schemas.microsoft.com/office/drawing/2014/main" id="{CB125874-AF46-08B5-FA85-D0900844E51C}"/>
                          </a:ext>
                        </a:extLst>
                      </p:cNvPr>
                      <p:cNvPicPr/>
                      <p:nvPr/>
                    </p:nvPicPr>
                    <p:blipFill>
                      <a:blip r:embed="rId3"/>
                      <a:stretch>
                        <a:fillRect/>
                      </a:stretch>
                    </p:blipFill>
                    <p:spPr>
                      <a:xfrm>
                        <a:off x="1073792" y="767898"/>
                        <a:ext cx="10216508" cy="5906017"/>
                      </a:xfrm>
                      <a:prstGeom prst="rect">
                        <a:avLst/>
                      </a:prstGeom>
                    </p:spPr>
                  </p:pic>
                </p:oleObj>
              </mc:Fallback>
            </mc:AlternateContent>
          </a:graphicData>
        </a:graphic>
      </p:graphicFrame>
    </p:spTree>
    <p:extLst>
      <p:ext uri="{BB962C8B-B14F-4D97-AF65-F5344CB8AC3E}">
        <p14:creationId xmlns:p14="http://schemas.microsoft.com/office/powerpoint/2010/main" val="17679659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4576216" y="175010"/>
            <a:ext cx="3593563"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THỊ </a:t>
            </a:r>
            <a:r>
              <a:rPr lang="vi-VN" sz="2400" b="1" dirty="0">
                <a:solidFill>
                  <a:srgbClr val="FF0000"/>
                </a:solidFill>
                <a:latin typeface="+mj-lt"/>
                <a:cs typeface="Arial" panose="020B0604020202020204" pitchFamily="34" charset="0"/>
              </a:rPr>
              <a:t>XÃ HOÀI NHƠN</a:t>
            </a:r>
          </a:p>
        </p:txBody>
      </p:sp>
      <p:graphicFrame>
        <p:nvGraphicFramePr>
          <p:cNvPr id="4" name="Table 3"/>
          <p:cNvGraphicFramePr>
            <a:graphicFrameLocks noGrp="1"/>
          </p:cNvGraphicFramePr>
          <p:nvPr>
            <p:extLst>
              <p:ext uri="{D42A27DB-BD31-4B8C-83A1-F6EECF244321}">
                <p14:modId xmlns:p14="http://schemas.microsoft.com/office/powerpoint/2010/main" val="1532498213"/>
              </p:ext>
            </p:extLst>
          </p:nvPr>
        </p:nvGraphicFramePr>
        <p:xfrm>
          <a:off x="284293" y="710496"/>
          <a:ext cx="11623413" cy="5857290"/>
        </p:xfrm>
        <a:graphic>
          <a:graphicData uri="http://schemas.openxmlformats.org/drawingml/2006/table">
            <a:tbl>
              <a:tblPr>
                <a:tableStyleId>{5C22544A-7EE6-4342-B048-85BDC9FD1C3A}</a:tableStyleId>
              </a:tblPr>
              <a:tblGrid>
                <a:gridCol w="713997">
                  <a:extLst>
                    <a:ext uri="{9D8B030D-6E8A-4147-A177-3AD203B41FA5}">
                      <a16:colId xmlns:a16="http://schemas.microsoft.com/office/drawing/2014/main" val="20000"/>
                    </a:ext>
                  </a:extLst>
                </a:gridCol>
                <a:gridCol w="2586415">
                  <a:extLst>
                    <a:ext uri="{9D8B030D-6E8A-4147-A177-3AD203B41FA5}">
                      <a16:colId xmlns:a16="http://schemas.microsoft.com/office/drawing/2014/main" val="20001"/>
                    </a:ext>
                  </a:extLst>
                </a:gridCol>
                <a:gridCol w="801969">
                  <a:extLst>
                    <a:ext uri="{9D8B030D-6E8A-4147-A177-3AD203B41FA5}">
                      <a16:colId xmlns:a16="http://schemas.microsoft.com/office/drawing/2014/main" val="20002"/>
                    </a:ext>
                  </a:extLst>
                </a:gridCol>
                <a:gridCol w="1295488">
                  <a:extLst>
                    <a:ext uri="{9D8B030D-6E8A-4147-A177-3AD203B41FA5}">
                      <a16:colId xmlns:a16="http://schemas.microsoft.com/office/drawing/2014/main" val="20003"/>
                    </a:ext>
                  </a:extLst>
                </a:gridCol>
                <a:gridCol w="1100138">
                  <a:extLst>
                    <a:ext uri="{9D8B030D-6E8A-4147-A177-3AD203B41FA5}">
                      <a16:colId xmlns:a16="http://schemas.microsoft.com/office/drawing/2014/main" val="20004"/>
                    </a:ext>
                  </a:extLst>
                </a:gridCol>
                <a:gridCol w="894504">
                  <a:extLst>
                    <a:ext uri="{9D8B030D-6E8A-4147-A177-3AD203B41FA5}">
                      <a16:colId xmlns:a16="http://schemas.microsoft.com/office/drawing/2014/main" val="20005"/>
                    </a:ext>
                  </a:extLst>
                </a:gridCol>
                <a:gridCol w="966476">
                  <a:extLst>
                    <a:ext uri="{9D8B030D-6E8A-4147-A177-3AD203B41FA5}">
                      <a16:colId xmlns:a16="http://schemas.microsoft.com/office/drawing/2014/main" val="20006"/>
                    </a:ext>
                  </a:extLst>
                </a:gridCol>
                <a:gridCol w="963906">
                  <a:extLst>
                    <a:ext uri="{9D8B030D-6E8A-4147-A177-3AD203B41FA5}">
                      <a16:colId xmlns:a16="http://schemas.microsoft.com/office/drawing/2014/main" val="20007"/>
                    </a:ext>
                  </a:extLst>
                </a:gridCol>
                <a:gridCol w="1151545">
                  <a:extLst>
                    <a:ext uri="{9D8B030D-6E8A-4147-A177-3AD203B41FA5}">
                      <a16:colId xmlns:a16="http://schemas.microsoft.com/office/drawing/2014/main" val="20008"/>
                    </a:ext>
                  </a:extLst>
                </a:gridCol>
                <a:gridCol w="1148975">
                  <a:extLst>
                    <a:ext uri="{9D8B030D-6E8A-4147-A177-3AD203B41FA5}">
                      <a16:colId xmlns:a16="http://schemas.microsoft.com/office/drawing/2014/main" val="20009"/>
                    </a:ext>
                  </a:extLst>
                </a:gridCol>
              </a:tblGrid>
              <a:tr h="123660">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Đơn vị tính</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39634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hực hiện 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Quý II</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Ước tính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32115">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16,449,80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6,449,80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3,213,78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3,996,3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210,14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4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3.83</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326,6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26,6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9,5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15,2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04,7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2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604,9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604,9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21,2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27,3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48,5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477,33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4,477,338</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1,82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1,90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73,72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8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127,64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27,64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9,3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5,4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4,7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3.0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8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518,1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18,1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3,0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3,7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56,8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5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32115">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dirty="0">
                          <a:effectLst/>
                          <a:latin typeface="Times New Roman" panose="02020603050405020304" pitchFamily="18" charset="0"/>
                          <a:cs typeface="Times New Roman" panose="02020603050405020304" pitchFamily="18" charset="0"/>
                        </a:rPr>
                        <a:t>7.23</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6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5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4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1.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5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0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206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694,99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9,9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5,4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9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4,4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425,000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0,0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4,00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86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86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4.9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5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6423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2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2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3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5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2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8.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6.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4.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6.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423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Giảm tỷ lệ nghèo đa chiều</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Bảo</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hiểm</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xã</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hội</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tự</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uyện</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6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6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6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2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6.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Tạo</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iệc</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làm</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mới</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6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6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3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5.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3.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321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Tỷ</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lệ</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che</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phủ</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rừng</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8.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6423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7.5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9.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1.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1.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1.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1.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6423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2.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2.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8.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1.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1.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dirty="0">
                          <a:effectLst/>
                          <a:latin typeface="Times New Roman" panose="02020603050405020304" pitchFamily="18" charset="0"/>
                          <a:cs typeface="Times New Roman" panose="02020603050405020304" pitchFamily="18" charset="0"/>
                        </a:rPr>
                        <a:t>99.1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285" marR="5285" marT="52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82429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4445360" y="360500"/>
            <a:ext cx="3301280"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TUY PHƯỚC</a:t>
            </a:r>
          </a:p>
        </p:txBody>
      </p:sp>
      <p:graphicFrame>
        <p:nvGraphicFramePr>
          <p:cNvPr id="2" name="Table 1"/>
          <p:cNvGraphicFramePr>
            <a:graphicFrameLocks noGrp="1"/>
          </p:cNvGraphicFramePr>
          <p:nvPr>
            <p:extLst>
              <p:ext uri="{D42A27DB-BD31-4B8C-83A1-F6EECF244321}">
                <p14:modId xmlns:p14="http://schemas.microsoft.com/office/powerpoint/2010/main" val="4023310274"/>
              </p:ext>
            </p:extLst>
          </p:nvPr>
        </p:nvGraphicFramePr>
        <p:xfrm>
          <a:off x="431802" y="974725"/>
          <a:ext cx="11379200" cy="5638016"/>
        </p:xfrm>
        <a:graphic>
          <a:graphicData uri="http://schemas.openxmlformats.org/drawingml/2006/table">
            <a:tbl>
              <a:tblPr>
                <a:tableStyleId>{5C22544A-7EE6-4342-B048-85BDC9FD1C3A}</a:tableStyleId>
              </a:tblPr>
              <a:tblGrid>
                <a:gridCol w="320361">
                  <a:extLst>
                    <a:ext uri="{9D8B030D-6E8A-4147-A177-3AD203B41FA5}">
                      <a16:colId xmlns:a16="http://schemas.microsoft.com/office/drawing/2014/main" val="20000"/>
                    </a:ext>
                  </a:extLst>
                </a:gridCol>
                <a:gridCol w="2755099">
                  <a:extLst>
                    <a:ext uri="{9D8B030D-6E8A-4147-A177-3AD203B41FA5}">
                      <a16:colId xmlns:a16="http://schemas.microsoft.com/office/drawing/2014/main" val="20001"/>
                    </a:ext>
                  </a:extLst>
                </a:gridCol>
                <a:gridCol w="973896">
                  <a:extLst>
                    <a:ext uri="{9D8B030D-6E8A-4147-A177-3AD203B41FA5}">
                      <a16:colId xmlns:a16="http://schemas.microsoft.com/office/drawing/2014/main" val="20002"/>
                    </a:ext>
                  </a:extLst>
                </a:gridCol>
                <a:gridCol w="1143687">
                  <a:extLst>
                    <a:ext uri="{9D8B030D-6E8A-4147-A177-3AD203B41FA5}">
                      <a16:colId xmlns:a16="http://schemas.microsoft.com/office/drawing/2014/main" val="20003"/>
                    </a:ext>
                  </a:extLst>
                </a:gridCol>
                <a:gridCol w="845752">
                  <a:extLst>
                    <a:ext uri="{9D8B030D-6E8A-4147-A177-3AD203B41FA5}">
                      <a16:colId xmlns:a16="http://schemas.microsoft.com/office/drawing/2014/main" val="20004"/>
                    </a:ext>
                  </a:extLst>
                </a:gridCol>
                <a:gridCol w="989913">
                  <a:extLst>
                    <a:ext uri="{9D8B030D-6E8A-4147-A177-3AD203B41FA5}">
                      <a16:colId xmlns:a16="http://schemas.microsoft.com/office/drawing/2014/main" val="20005"/>
                    </a:ext>
                  </a:extLst>
                </a:gridCol>
                <a:gridCol w="1037967">
                  <a:extLst>
                    <a:ext uri="{9D8B030D-6E8A-4147-A177-3AD203B41FA5}">
                      <a16:colId xmlns:a16="http://schemas.microsoft.com/office/drawing/2014/main" val="20006"/>
                    </a:ext>
                  </a:extLst>
                </a:gridCol>
                <a:gridCol w="1037967">
                  <a:extLst>
                    <a:ext uri="{9D8B030D-6E8A-4147-A177-3AD203B41FA5}">
                      <a16:colId xmlns:a16="http://schemas.microsoft.com/office/drawing/2014/main" val="20007"/>
                    </a:ext>
                  </a:extLst>
                </a:gridCol>
                <a:gridCol w="1140482">
                  <a:extLst>
                    <a:ext uri="{9D8B030D-6E8A-4147-A177-3AD203B41FA5}">
                      <a16:colId xmlns:a16="http://schemas.microsoft.com/office/drawing/2014/main" val="20008"/>
                    </a:ext>
                  </a:extLst>
                </a:gridCol>
                <a:gridCol w="1134076">
                  <a:extLst>
                    <a:ext uri="{9D8B030D-6E8A-4147-A177-3AD203B41FA5}">
                      <a16:colId xmlns:a16="http://schemas.microsoft.com/office/drawing/2014/main" val="20009"/>
                    </a:ext>
                  </a:extLst>
                </a:gridCol>
              </a:tblGrid>
              <a:tr h="136274">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a:t>
                      </a:r>
                      <a:br>
                        <a:rPr lang="vi-VN" sz="1200" b="1" u="none" strike="noStrike" dirty="0">
                          <a:effectLst/>
                          <a:latin typeface="Times New Roman" panose="02020603050405020304" pitchFamily="18" charset="0"/>
                          <a:cs typeface="Times New Roman" panose="02020603050405020304" pitchFamily="18" charset="0"/>
                        </a:rPr>
                      </a:br>
                      <a:r>
                        <a:rPr lang="vi-VN" sz="1200" b="1" u="none" strike="noStrike" dirty="0">
                          <a:effectLst/>
                          <a:latin typeface="Times New Roman" panose="02020603050405020304" pitchFamily="18" charset="0"/>
                          <a:cs typeface="Times New Roman" panose="02020603050405020304" pitchFamily="18" charset="0"/>
                        </a:rPr>
                        <a:t>năm 2023</a:t>
                      </a:r>
                      <a:br>
                        <a:rPr lang="vi-VN" sz="1200" b="1" u="none" strike="noStrike" dirty="0">
                          <a:effectLst/>
                          <a:latin typeface="Times New Roman" panose="02020603050405020304" pitchFamily="18" charset="0"/>
                          <a:cs typeface="Times New Roman" panose="02020603050405020304" pitchFamily="18" charset="0"/>
                        </a:rPr>
                      </a:br>
                      <a:r>
                        <a:rPr lang="vi-VN" sz="1200" b="1" u="none" strike="noStrike" dirty="0">
                          <a:effectLst/>
                          <a:latin typeface="Times New Roman" panose="02020603050405020304" pitchFamily="18" charset="0"/>
                          <a:cs typeface="Times New Roman" panose="02020603050405020304" pitchFamily="18" charset="0"/>
                        </a:rPr>
                        <a:t> UBND</a:t>
                      </a:r>
                      <a:br>
                        <a:rPr lang="vi-VN" sz="1200" b="1" u="none" strike="noStrike" dirty="0">
                          <a:effectLst/>
                          <a:latin typeface="Times New Roman" panose="02020603050405020304" pitchFamily="18" charset="0"/>
                          <a:cs typeface="Times New Roman" panose="02020603050405020304" pitchFamily="18" charset="0"/>
                        </a:rPr>
                      </a:br>
                      <a:r>
                        <a:rPr lang="vi-VN" sz="1200" b="1" u="none" strike="noStrike" dirty="0">
                          <a:effectLst/>
                          <a:latin typeface="Times New Roman" panose="02020603050405020304" pitchFamily="18" charset="0"/>
                          <a:cs typeface="Times New Roman" panose="02020603050405020304" pitchFamily="18" charset="0"/>
                        </a:rPr>
                        <a:t> huyện gia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42501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a:t>
                      </a:r>
                      <a:br>
                        <a:rPr lang="vi-VN" sz="1200" b="1" u="none" strike="noStrike">
                          <a:effectLst/>
                          <a:latin typeface="Times New Roman" panose="02020603050405020304" pitchFamily="18" charset="0"/>
                          <a:cs typeface="Times New Roman" panose="02020603050405020304" pitchFamily="18" charset="0"/>
                        </a:rPr>
                      </a:br>
                      <a:r>
                        <a:rPr lang="vi-VN" sz="1200" b="1" u="none" strike="noStrike">
                          <a:effectLst/>
                          <a:latin typeface="Times New Roman" panose="02020603050405020304" pitchFamily="18" charset="0"/>
                          <a:cs typeface="Times New Roman" panose="02020603050405020304" pitchFamily="18" charset="0"/>
                        </a:rPr>
                        <a:t>6 tháng </a:t>
                      </a:r>
                      <a:br>
                        <a:rPr lang="vi-VN" sz="1200" b="1" u="none" strike="noStrike">
                          <a:effectLst/>
                          <a:latin typeface="Times New Roman" panose="02020603050405020304" pitchFamily="18" charset="0"/>
                          <a:cs typeface="Times New Roman" panose="02020603050405020304" pitchFamily="18" charset="0"/>
                        </a:rPr>
                      </a:br>
                      <a:r>
                        <a:rPr lang="vi-VN" sz="1200" b="1" u="none" strike="noStrike">
                          <a:effectLst/>
                          <a:latin typeface="Times New Roman" panose="02020603050405020304" pitchFamily="18" charset="0"/>
                          <a:cs typeface="Times New Roman" panose="02020603050405020304" pitchFamily="18" charset="0"/>
                        </a:rPr>
                        <a:t>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1671">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1,969,82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11,969,82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2,481,53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3,059,26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5,540,80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5.0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46.29</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586,7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586,7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83,3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6,2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69,6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5.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162,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162,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72,1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587,4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859,5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6.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 Công nghiệp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975,5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975,5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86,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90,0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276,6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5.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86,8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86,8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85,5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97,3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82,9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2.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9.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220,7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220,7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26,0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85,5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511,5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6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6.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41671">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5.98</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5.98</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2.69</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7.08</a:t>
                      </a:r>
                      <a:endParaRPr lang="en-US" sz="1200" b="1" i="1"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5.08</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 </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a:t>
                      </a:r>
                      <a:endParaRPr lang="en-US" sz="1200" b="1" i="1"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14</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87</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0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1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4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7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2.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2.8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2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6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 </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Kim ngạch xuất khẩ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5.4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3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4.7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15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15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8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84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372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45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58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403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5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5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52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54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06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7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76</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16</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26</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4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2.1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9.6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65803">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Tỷ lệ trẻ em dưới 5 tuổi SDD thể nhẹ câ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3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7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7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5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6.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9.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1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4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1.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95.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141671">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4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4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4.1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4.2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4.2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4.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65803">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2.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2.4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3.3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3.8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3.8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1</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77.08</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6746" marR="6746" marT="674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2371753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4970732" y="262376"/>
            <a:ext cx="2797474"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PHÙ CÁT</a:t>
            </a:r>
          </a:p>
        </p:txBody>
      </p:sp>
      <p:graphicFrame>
        <p:nvGraphicFramePr>
          <p:cNvPr id="2" name="Table 1"/>
          <p:cNvGraphicFramePr>
            <a:graphicFrameLocks noGrp="1"/>
          </p:cNvGraphicFramePr>
          <p:nvPr>
            <p:extLst>
              <p:ext uri="{D42A27DB-BD31-4B8C-83A1-F6EECF244321}">
                <p14:modId xmlns:p14="http://schemas.microsoft.com/office/powerpoint/2010/main" val="1949600649"/>
              </p:ext>
            </p:extLst>
          </p:nvPr>
        </p:nvGraphicFramePr>
        <p:xfrm>
          <a:off x="469899" y="724041"/>
          <a:ext cx="11442700" cy="5832216"/>
        </p:xfrm>
        <a:graphic>
          <a:graphicData uri="http://schemas.openxmlformats.org/drawingml/2006/table">
            <a:tbl>
              <a:tblPr>
                <a:tableStyleId>{5C22544A-7EE6-4342-B048-85BDC9FD1C3A}</a:tableStyleId>
              </a:tblPr>
              <a:tblGrid>
                <a:gridCol w="898726">
                  <a:extLst>
                    <a:ext uri="{9D8B030D-6E8A-4147-A177-3AD203B41FA5}">
                      <a16:colId xmlns:a16="http://schemas.microsoft.com/office/drawing/2014/main" val="20000"/>
                    </a:ext>
                  </a:extLst>
                </a:gridCol>
                <a:gridCol w="2546389">
                  <a:extLst>
                    <a:ext uri="{9D8B030D-6E8A-4147-A177-3AD203B41FA5}">
                      <a16:colId xmlns:a16="http://schemas.microsoft.com/office/drawing/2014/main" val="20001"/>
                    </a:ext>
                  </a:extLst>
                </a:gridCol>
                <a:gridCol w="834529">
                  <a:extLst>
                    <a:ext uri="{9D8B030D-6E8A-4147-A177-3AD203B41FA5}">
                      <a16:colId xmlns:a16="http://schemas.microsoft.com/office/drawing/2014/main" val="20002"/>
                    </a:ext>
                  </a:extLst>
                </a:gridCol>
                <a:gridCol w="1037815">
                  <a:extLst>
                    <a:ext uri="{9D8B030D-6E8A-4147-A177-3AD203B41FA5}">
                      <a16:colId xmlns:a16="http://schemas.microsoft.com/office/drawing/2014/main" val="20003"/>
                    </a:ext>
                  </a:extLst>
                </a:gridCol>
                <a:gridCol w="922797">
                  <a:extLst>
                    <a:ext uri="{9D8B030D-6E8A-4147-A177-3AD203B41FA5}">
                      <a16:colId xmlns:a16="http://schemas.microsoft.com/office/drawing/2014/main" val="20004"/>
                    </a:ext>
                  </a:extLst>
                </a:gridCol>
                <a:gridCol w="898726">
                  <a:extLst>
                    <a:ext uri="{9D8B030D-6E8A-4147-A177-3AD203B41FA5}">
                      <a16:colId xmlns:a16="http://schemas.microsoft.com/office/drawing/2014/main" val="20005"/>
                    </a:ext>
                  </a:extLst>
                </a:gridCol>
                <a:gridCol w="1005717">
                  <a:extLst>
                    <a:ext uri="{9D8B030D-6E8A-4147-A177-3AD203B41FA5}">
                      <a16:colId xmlns:a16="http://schemas.microsoft.com/office/drawing/2014/main" val="20006"/>
                    </a:ext>
                  </a:extLst>
                </a:gridCol>
                <a:gridCol w="1005717">
                  <a:extLst>
                    <a:ext uri="{9D8B030D-6E8A-4147-A177-3AD203B41FA5}">
                      <a16:colId xmlns:a16="http://schemas.microsoft.com/office/drawing/2014/main" val="20007"/>
                    </a:ext>
                  </a:extLst>
                </a:gridCol>
                <a:gridCol w="1144805">
                  <a:extLst>
                    <a:ext uri="{9D8B030D-6E8A-4147-A177-3AD203B41FA5}">
                      <a16:colId xmlns:a16="http://schemas.microsoft.com/office/drawing/2014/main" val="20008"/>
                    </a:ext>
                  </a:extLst>
                </a:gridCol>
                <a:gridCol w="1147479">
                  <a:extLst>
                    <a:ext uri="{9D8B030D-6E8A-4147-A177-3AD203B41FA5}">
                      <a16:colId xmlns:a16="http://schemas.microsoft.com/office/drawing/2014/main" val="20009"/>
                    </a:ext>
                  </a:extLst>
                </a:gridCol>
              </a:tblGrid>
              <a:tr h="116447">
                <a:tc rowSpan="2">
                  <a:txBody>
                    <a:bodyPr/>
                    <a:lstStyle/>
                    <a:p>
                      <a:pPr algn="ctr" fontAlgn="ctr"/>
                      <a:endParaRPr lang="en-US" sz="1200" b="1" u="none" strike="noStrike" dirty="0">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37322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9386">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1</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392,88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396,40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2,602,99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a:rPr>
                        <a:t>3,779,36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382,35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9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7.65</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36,0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939,0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2,5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1,794,45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97,0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539,97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540,5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2,9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a:rPr>
                        <a:t>1,334,3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27,3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65,7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966,2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64,1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9,9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04,1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574,20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574,2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8,7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4,4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3,1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16,8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916,8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07,4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0,5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58,0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2938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0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9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4.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4.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8,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8,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0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6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6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7,2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7,7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2,56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8,2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345,77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29386">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9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0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5379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5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5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55.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85.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41.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5379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6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2938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5379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5379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7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76" marR="4976" marT="497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6669241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5076293" y="120365"/>
            <a:ext cx="2658357"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PHÙ MỸ</a:t>
            </a:r>
          </a:p>
        </p:txBody>
      </p:sp>
      <p:graphicFrame>
        <p:nvGraphicFramePr>
          <p:cNvPr id="4" name="Table 3"/>
          <p:cNvGraphicFramePr>
            <a:graphicFrameLocks noGrp="1"/>
          </p:cNvGraphicFramePr>
          <p:nvPr>
            <p:extLst>
              <p:ext uri="{D42A27DB-BD31-4B8C-83A1-F6EECF244321}">
                <p14:modId xmlns:p14="http://schemas.microsoft.com/office/powerpoint/2010/main" val="169519571"/>
              </p:ext>
            </p:extLst>
          </p:nvPr>
        </p:nvGraphicFramePr>
        <p:xfrm>
          <a:off x="974076" y="673093"/>
          <a:ext cx="10413999" cy="6164103"/>
        </p:xfrm>
        <a:graphic>
          <a:graphicData uri="http://schemas.openxmlformats.org/drawingml/2006/table">
            <a:tbl>
              <a:tblPr>
                <a:tableStyleId>{5C22544A-7EE6-4342-B048-85BDC9FD1C3A}</a:tableStyleId>
              </a:tblPr>
              <a:tblGrid>
                <a:gridCol w="661979">
                  <a:extLst>
                    <a:ext uri="{9D8B030D-6E8A-4147-A177-3AD203B41FA5}">
                      <a16:colId xmlns:a16="http://schemas.microsoft.com/office/drawing/2014/main" val="20000"/>
                    </a:ext>
                  </a:extLst>
                </a:gridCol>
                <a:gridCol w="2593045">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947820">
                  <a:extLst>
                    <a:ext uri="{9D8B030D-6E8A-4147-A177-3AD203B41FA5}">
                      <a16:colId xmlns:a16="http://schemas.microsoft.com/office/drawing/2014/main" val="20003"/>
                    </a:ext>
                  </a:extLst>
                </a:gridCol>
                <a:gridCol w="969880">
                  <a:extLst>
                    <a:ext uri="{9D8B030D-6E8A-4147-A177-3AD203B41FA5}">
                      <a16:colId xmlns:a16="http://schemas.microsoft.com/office/drawing/2014/main" val="20004"/>
                    </a:ext>
                  </a:extLst>
                </a:gridCol>
                <a:gridCol w="774700">
                  <a:extLst>
                    <a:ext uri="{9D8B030D-6E8A-4147-A177-3AD203B41FA5}">
                      <a16:colId xmlns:a16="http://schemas.microsoft.com/office/drawing/2014/main" val="20005"/>
                    </a:ext>
                  </a:extLst>
                </a:gridCol>
                <a:gridCol w="812800">
                  <a:extLst>
                    <a:ext uri="{9D8B030D-6E8A-4147-A177-3AD203B41FA5}">
                      <a16:colId xmlns:a16="http://schemas.microsoft.com/office/drawing/2014/main" val="20006"/>
                    </a:ext>
                  </a:extLst>
                </a:gridCol>
                <a:gridCol w="889000">
                  <a:extLst>
                    <a:ext uri="{9D8B030D-6E8A-4147-A177-3AD203B41FA5}">
                      <a16:colId xmlns:a16="http://schemas.microsoft.com/office/drawing/2014/main" val="20007"/>
                    </a:ext>
                  </a:extLst>
                </a:gridCol>
                <a:gridCol w="958699">
                  <a:extLst>
                    <a:ext uri="{9D8B030D-6E8A-4147-A177-3AD203B41FA5}">
                      <a16:colId xmlns:a16="http://schemas.microsoft.com/office/drawing/2014/main" val="20008"/>
                    </a:ext>
                  </a:extLst>
                </a:gridCol>
                <a:gridCol w="1044076">
                  <a:extLst>
                    <a:ext uri="{9D8B030D-6E8A-4147-A177-3AD203B41FA5}">
                      <a16:colId xmlns:a16="http://schemas.microsoft.com/office/drawing/2014/main" val="20009"/>
                    </a:ext>
                  </a:extLst>
                </a:gridCol>
              </a:tblGrid>
              <a:tr h="269946">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Đơn vị tính</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53399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o </a:t>
                      </a:r>
                      <a:r>
                        <a:rPr lang="en-US" sz="1200" b="1" u="none" strike="noStrike" dirty="0" err="1">
                          <a:effectLst/>
                          <a:latin typeface="Times New Roman" panose="02020603050405020304" pitchFamily="18" charset="0"/>
                          <a:cs typeface="Times New Roman" panose="02020603050405020304" pitchFamily="18" charset="0"/>
                        </a:rPr>
                        <a:t>cù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ỳ</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a:t>
                      </a:r>
                      <a:r>
                        <a:rPr lang="en-US" sz="1200" b="1" u="none" strike="noStrike" dirty="0">
                          <a:effectLst/>
                          <a:latin typeface="Times New Roman" panose="02020603050405020304" pitchFamily="18" charset="0"/>
                          <a:cs typeface="Times New Roman" panose="02020603050405020304" pitchFamily="18" charset="0"/>
                        </a:rPr>
                        <a:t>H</a:t>
                      </a:r>
                      <a:r>
                        <a:rPr lang="vi-VN" sz="1200" b="1" u="none" strike="noStrike" dirty="0">
                          <a:effectLst/>
                          <a:latin typeface="Times New Roman" panose="02020603050405020304" pitchFamily="18" charset="0"/>
                          <a:cs typeface="Times New Roman" panose="02020603050405020304" pitchFamily="18" charset="0"/>
                        </a:rPr>
                        <a:t>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47351">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1</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b="1" u="none" strike="noStrike" dirty="0">
                          <a:effectLst/>
                          <a:latin typeface="Times New Roman" panose="02020603050405020304" pitchFamily="18" charset="0"/>
                          <a:cs typeface="Times New Roman" panose="02020603050405020304" pitchFamily="18" charset="0"/>
                        </a:rPr>
                        <a:t>Triệu đồng</a:t>
                      </a:r>
                      <a:endParaRPr lang="vi-VN" sz="1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12,007,62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2,050,44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2,217,73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3,190,35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425,12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0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5.33</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45,0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45,0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64,3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58,0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27,1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21,0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44,4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5,6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0,0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14,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64,7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80,0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7,0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7,3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2,7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6,32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4,4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5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2,6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1,28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41,5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60,9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7,7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02,2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83,9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47351">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b="1" u="none" strike="noStrike" dirty="0">
                          <a:effectLst/>
                          <a:latin typeface="Times New Roman" panose="02020603050405020304" pitchFamily="18" charset="0"/>
                          <a:cs typeface="Times New Roman" panose="02020603050405020304" pitchFamily="18" charset="0"/>
                        </a:rPr>
                        <a:t>%</a:t>
                      </a:r>
                      <a:endParaRPr lang="en-US" sz="1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6,30 – 6,6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a:effectLst/>
                          <a:latin typeface="Times New Roman" panose="02020603050405020304" pitchFamily="18" charset="0"/>
                          <a:cs typeface="Times New Roman" panose="02020603050405020304" pitchFamily="18" charset="0"/>
                        </a:rPr>
                        <a:t>6,51 - 7,0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3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4.5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5.0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5 – 3,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5 – 3,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34 – 11,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95 – 11,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00-  1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2,75 - 13,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50 – 5.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70 -  6,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47351">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5 – 1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78 – 10,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Triệu</a:t>
                      </a:r>
                      <a:r>
                        <a:rPr lang="en-US" sz="1000" u="none" strike="noStrike" dirty="0">
                          <a:effectLst/>
                          <a:latin typeface="Times New Roman" panose="02020603050405020304" pitchFamily="18" charset="0"/>
                          <a:cs typeface="Times New Roman" panose="02020603050405020304" pitchFamily="18" charset="0"/>
                        </a:rPr>
                        <a:t> USD</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a:rPr>
                        <a:t>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a:rPr>
                        <a:t>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81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9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2.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4.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358,7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459,35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9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3,3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1,2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riệu đồng</a:t>
                      </a:r>
                      <a:endParaRPr lang="vi-VN"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15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250,0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1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59,378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9470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Tỷ đồng</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5,8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6,369.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8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93.8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93.8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9470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8.4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8.4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6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err="1">
                          <a:effectLst/>
                          <a:latin typeface="Times New Roman" panose="02020603050405020304" pitchFamily="18" charset="0"/>
                          <a:cs typeface="Times New Roman" panose="02020603050405020304" pitchFamily="18" charset="0"/>
                        </a:rPr>
                        <a:t>Giảm</a:t>
                      </a:r>
                      <a:r>
                        <a:rPr lang="en-US" sz="1200" u="none" strike="noStrike" dirty="0">
                          <a:effectLst/>
                          <a:latin typeface="Times New Roman" panose="02020603050405020304" pitchFamily="18" charset="0"/>
                          <a:cs typeface="Times New Roman" panose="02020603050405020304" pitchFamily="18" charset="0"/>
                        </a:rPr>
                        <a:t> 0,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1.08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1.09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Người</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2,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2,1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Người</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2,2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2,3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dirty="0">
                          <a:effectLst/>
                          <a:latin typeface="Times New Roman" panose="02020603050405020304" pitchFamily="18" charset="0"/>
                          <a:cs typeface="Times New Roman" panose="02020603050405020304" pitchFamily="18" charset="0"/>
                        </a:rPr>
                        <a:t>Người</a:t>
                      </a:r>
                      <a:endParaRPr lang="vi-VN"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3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Times New Roman"/>
                        </a:rPr>
                        <a:t>5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4735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33.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33.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9470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74.09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a:rPr>
                        <a:t>74.09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8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8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9470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a:rPr>
                        <a:t>7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a:rPr>
                        <a:t>7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61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09" marR="4909" marT="490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3785070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4531009" y="463036"/>
            <a:ext cx="2750636"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TÂY SƠN</a:t>
            </a:r>
          </a:p>
        </p:txBody>
      </p:sp>
      <p:graphicFrame>
        <p:nvGraphicFramePr>
          <p:cNvPr id="2" name="Object 1">
            <a:extLst>
              <a:ext uri="{FF2B5EF4-FFF2-40B4-BE49-F238E27FC236}">
                <a16:creationId xmlns:a16="http://schemas.microsoft.com/office/drawing/2014/main" id="{BFE6691C-E16E-33FF-D926-977E7FBC6CC5}"/>
              </a:ext>
            </a:extLst>
          </p:cNvPr>
          <p:cNvGraphicFramePr>
            <a:graphicFrameLocks noChangeAspect="1"/>
          </p:cNvGraphicFramePr>
          <p:nvPr>
            <p:extLst>
              <p:ext uri="{D42A27DB-BD31-4B8C-83A1-F6EECF244321}">
                <p14:modId xmlns:p14="http://schemas.microsoft.com/office/powerpoint/2010/main" val="924435705"/>
              </p:ext>
            </p:extLst>
          </p:nvPr>
        </p:nvGraphicFramePr>
        <p:xfrm>
          <a:off x="838900" y="1134860"/>
          <a:ext cx="10197032" cy="5307064"/>
        </p:xfrm>
        <a:graphic>
          <a:graphicData uri="http://schemas.openxmlformats.org/presentationml/2006/ole">
            <mc:AlternateContent xmlns:mc="http://schemas.openxmlformats.org/markup-compatibility/2006">
              <mc:Choice xmlns:v="urn:schemas-microsoft-com:vml" Requires="v">
                <p:oleObj name="Worksheet" r:id="rId2" imgW="14430240" imgH="7867757" progId="Excel.Sheet.12">
                  <p:embed/>
                </p:oleObj>
              </mc:Choice>
              <mc:Fallback>
                <p:oleObj name="Worksheet" r:id="rId2" imgW="14430240" imgH="7867757" progId="Excel.Sheet.12">
                  <p:embed/>
                  <p:pic>
                    <p:nvPicPr>
                      <p:cNvPr id="2" name="Object 1">
                        <a:extLst>
                          <a:ext uri="{FF2B5EF4-FFF2-40B4-BE49-F238E27FC236}">
                            <a16:creationId xmlns:a16="http://schemas.microsoft.com/office/drawing/2014/main" id="{BFE6691C-E16E-33FF-D926-977E7FBC6CC5}"/>
                          </a:ext>
                        </a:extLst>
                      </p:cNvPr>
                      <p:cNvPicPr/>
                      <p:nvPr/>
                    </p:nvPicPr>
                    <p:blipFill>
                      <a:blip r:embed="rId3"/>
                      <a:stretch>
                        <a:fillRect/>
                      </a:stretch>
                    </p:blipFill>
                    <p:spPr>
                      <a:xfrm>
                        <a:off x="838900" y="1134860"/>
                        <a:ext cx="10197032" cy="5307064"/>
                      </a:xfrm>
                      <a:prstGeom prst="rect">
                        <a:avLst/>
                      </a:prstGeom>
                    </p:spPr>
                  </p:pic>
                </p:oleObj>
              </mc:Fallback>
            </mc:AlternateContent>
          </a:graphicData>
        </a:graphic>
      </p:graphicFrame>
    </p:spTree>
    <p:extLst>
      <p:ext uri="{BB962C8B-B14F-4D97-AF65-F5344CB8AC3E}">
        <p14:creationId xmlns:p14="http://schemas.microsoft.com/office/powerpoint/2010/main" val="19874754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363D8CF-2C85-3BF9-B7BB-9B85B15F2F06}"/>
              </a:ext>
            </a:extLst>
          </p:cNvPr>
          <p:cNvSpPr txBox="1"/>
          <p:nvPr/>
        </p:nvSpPr>
        <p:spPr>
          <a:xfrm>
            <a:off x="5143987" y="146231"/>
            <a:ext cx="2716497"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HOÀI ÂN</a:t>
            </a:r>
          </a:p>
        </p:txBody>
      </p:sp>
      <p:graphicFrame>
        <p:nvGraphicFramePr>
          <p:cNvPr id="4" name="Table 3"/>
          <p:cNvGraphicFramePr>
            <a:graphicFrameLocks noGrp="1"/>
          </p:cNvGraphicFramePr>
          <p:nvPr>
            <p:extLst>
              <p:ext uri="{D42A27DB-BD31-4B8C-83A1-F6EECF244321}">
                <p14:modId xmlns:p14="http://schemas.microsoft.com/office/powerpoint/2010/main" val="2234760086"/>
              </p:ext>
            </p:extLst>
          </p:nvPr>
        </p:nvGraphicFramePr>
        <p:xfrm>
          <a:off x="457200" y="698500"/>
          <a:ext cx="11315699" cy="6107804"/>
        </p:xfrm>
        <a:graphic>
          <a:graphicData uri="http://schemas.openxmlformats.org/drawingml/2006/table">
            <a:tbl>
              <a:tblPr>
                <a:tableStyleId>{5C22544A-7EE6-4342-B048-85BDC9FD1C3A}</a:tableStyleId>
              </a:tblPr>
              <a:tblGrid>
                <a:gridCol w="793878">
                  <a:extLst>
                    <a:ext uri="{9D8B030D-6E8A-4147-A177-3AD203B41FA5}">
                      <a16:colId xmlns:a16="http://schemas.microsoft.com/office/drawing/2014/main" val="20000"/>
                    </a:ext>
                  </a:extLst>
                </a:gridCol>
                <a:gridCol w="2906999">
                  <a:extLst>
                    <a:ext uri="{9D8B030D-6E8A-4147-A177-3AD203B41FA5}">
                      <a16:colId xmlns:a16="http://schemas.microsoft.com/office/drawing/2014/main" val="20001"/>
                    </a:ext>
                  </a:extLst>
                </a:gridCol>
                <a:gridCol w="910626">
                  <a:extLst>
                    <a:ext uri="{9D8B030D-6E8A-4147-A177-3AD203B41FA5}">
                      <a16:colId xmlns:a16="http://schemas.microsoft.com/office/drawing/2014/main" val="20002"/>
                    </a:ext>
                  </a:extLst>
                </a:gridCol>
                <a:gridCol w="969000">
                  <a:extLst>
                    <a:ext uri="{9D8B030D-6E8A-4147-A177-3AD203B41FA5}">
                      <a16:colId xmlns:a16="http://schemas.microsoft.com/office/drawing/2014/main" val="20003"/>
                    </a:ext>
                  </a:extLst>
                </a:gridCol>
                <a:gridCol w="1027375">
                  <a:extLst>
                    <a:ext uri="{9D8B030D-6E8A-4147-A177-3AD203B41FA5}">
                      <a16:colId xmlns:a16="http://schemas.microsoft.com/office/drawing/2014/main" val="20004"/>
                    </a:ext>
                  </a:extLst>
                </a:gridCol>
                <a:gridCol w="933976">
                  <a:extLst>
                    <a:ext uri="{9D8B030D-6E8A-4147-A177-3AD203B41FA5}">
                      <a16:colId xmlns:a16="http://schemas.microsoft.com/office/drawing/2014/main" val="20005"/>
                    </a:ext>
                  </a:extLst>
                </a:gridCol>
                <a:gridCol w="1004024">
                  <a:extLst>
                    <a:ext uri="{9D8B030D-6E8A-4147-A177-3AD203B41FA5}">
                      <a16:colId xmlns:a16="http://schemas.microsoft.com/office/drawing/2014/main" val="20006"/>
                    </a:ext>
                  </a:extLst>
                </a:gridCol>
                <a:gridCol w="998185">
                  <a:extLst>
                    <a:ext uri="{9D8B030D-6E8A-4147-A177-3AD203B41FA5}">
                      <a16:colId xmlns:a16="http://schemas.microsoft.com/office/drawing/2014/main" val="20007"/>
                    </a:ext>
                  </a:extLst>
                </a:gridCol>
                <a:gridCol w="887277">
                  <a:extLst>
                    <a:ext uri="{9D8B030D-6E8A-4147-A177-3AD203B41FA5}">
                      <a16:colId xmlns:a16="http://schemas.microsoft.com/office/drawing/2014/main" val="20008"/>
                    </a:ext>
                  </a:extLst>
                </a:gridCol>
                <a:gridCol w="884359">
                  <a:extLst>
                    <a:ext uri="{9D8B030D-6E8A-4147-A177-3AD203B41FA5}">
                      <a16:colId xmlns:a16="http://schemas.microsoft.com/office/drawing/2014/main" val="20009"/>
                    </a:ext>
                  </a:extLst>
                </a:gridCol>
              </a:tblGrid>
              <a:tr h="204569">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 (%)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50904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7262">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4.809.99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4.809.99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976,70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72,632.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2,349,34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3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8.84</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443.26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443.26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9,3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5,41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64,78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31.946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31,94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3,9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9,46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3,46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22.8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22,8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1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04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9,17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09.1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09,1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8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6,41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4,29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434.78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434,78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3,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7,74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61,08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27262">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5,52 - 5,7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5,52 - 5,7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5.8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3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00 - 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00 - 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6.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62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4,62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84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5,1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983.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5.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3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5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1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9.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22398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3,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3,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1,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2,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2,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0,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8.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545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20361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7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7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6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6.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8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0.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6.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9.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12726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99.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545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96.5</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90" marR="5090" marT="509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22591738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497498" y="2290909"/>
            <a:ext cx="5078584"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276837" y="2571102"/>
            <a:ext cx="5380239" cy="954107"/>
          </a:xfrm>
          <a:prstGeom prst="rect">
            <a:avLst/>
          </a:prstGeom>
        </p:spPr>
        <p:txBody>
          <a:bodyPr wrap="square">
            <a:spAutoFit/>
          </a:bodyPr>
          <a:lstStyle/>
          <a:p>
            <a:pPr algn="ct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6 THÁNG ĐẦU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CBC7A17-9F40-F9E2-3D14-0D173740B2FD}"/>
              </a:ext>
            </a:extLst>
          </p:cNvPr>
          <p:cNvSpPr txBox="1"/>
          <p:nvPr/>
        </p:nvSpPr>
        <p:spPr>
          <a:xfrm>
            <a:off x="4631328" y="164321"/>
            <a:ext cx="2599984"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AN LÃO</a:t>
            </a:r>
          </a:p>
        </p:txBody>
      </p:sp>
      <p:graphicFrame>
        <p:nvGraphicFramePr>
          <p:cNvPr id="2" name="Table 1"/>
          <p:cNvGraphicFramePr>
            <a:graphicFrameLocks noGrp="1"/>
          </p:cNvGraphicFramePr>
          <p:nvPr>
            <p:extLst>
              <p:ext uri="{D42A27DB-BD31-4B8C-83A1-F6EECF244321}">
                <p14:modId xmlns:p14="http://schemas.microsoft.com/office/powerpoint/2010/main" val="3258381530"/>
              </p:ext>
            </p:extLst>
          </p:nvPr>
        </p:nvGraphicFramePr>
        <p:xfrm>
          <a:off x="342899" y="677863"/>
          <a:ext cx="11557000" cy="6015816"/>
        </p:xfrm>
        <a:graphic>
          <a:graphicData uri="http://schemas.openxmlformats.org/drawingml/2006/table">
            <a:tbl>
              <a:tblPr>
                <a:tableStyleId>{5C22544A-7EE6-4342-B048-85BDC9FD1C3A}</a:tableStyleId>
              </a:tblPr>
              <a:tblGrid>
                <a:gridCol w="651262">
                  <a:extLst>
                    <a:ext uri="{9D8B030D-6E8A-4147-A177-3AD203B41FA5}">
                      <a16:colId xmlns:a16="http://schemas.microsoft.com/office/drawing/2014/main" val="20000"/>
                    </a:ext>
                  </a:extLst>
                </a:gridCol>
                <a:gridCol w="2767865">
                  <a:extLst>
                    <a:ext uri="{9D8B030D-6E8A-4147-A177-3AD203B41FA5}">
                      <a16:colId xmlns:a16="http://schemas.microsoft.com/office/drawing/2014/main" val="20001"/>
                    </a:ext>
                  </a:extLst>
                </a:gridCol>
                <a:gridCol w="907115">
                  <a:extLst>
                    <a:ext uri="{9D8B030D-6E8A-4147-A177-3AD203B41FA5}">
                      <a16:colId xmlns:a16="http://schemas.microsoft.com/office/drawing/2014/main" val="20002"/>
                    </a:ext>
                  </a:extLst>
                </a:gridCol>
                <a:gridCol w="1107728">
                  <a:extLst>
                    <a:ext uri="{9D8B030D-6E8A-4147-A177-3AD203B41FA5}">
                      <a16:colId xmlns:a16="http://schemas.microsoft.com/office/drawing/2014/main" val="20003"/>
                    </a:ext>
                  </a:extLst>
                </a:gridCol>
                <a:gridCol w="1023413">
                  <a:extLst>
                    <a:ext uri="{9D8B030D-6E8A-4147-A177-3AD203B41FA5}">
                      <a16:colId xmlns:a16="http://schemas.microsoft.com/office/drawing/2014/main" val="20004"/>
                    </a:ext>
                  </a:extLst>
                </a:gridCol>
                <a:gridCol w="674521">
                  <a:extLst>
                    <a:ext uri="{9D8B030D-6E8A-4147-A177-3AD203B41FA5}">
                      <a16:colId xmlns:a16="http://schemas.microsoft.com/office/drawing/2014/main" val="20005"/>
                    </a:ext>
                  </a:extLst>
                </a:gridCol>
                <a:gridCol w="965264">
                  <a:extLst>
                    <a:ext uri="{9D8B030D-6E8A-4147-A177-3AD203B41FA5}">
                      <a16:colId xmlns:a16="http://schemas.microsoft.com/office/drawing/2014/main" val="20006"/>
                    </a:ext>
                  </a:extLst>
                </a:gridCol>
                <a:gridCol w="968172">
                  <a:extLst>
                    <a:ext uri="{9D8B030D-6E8A-4147-A177-3AD203B41FA5}">
                      <a16:colId xmlns:a16="http://schemas.microsoft.com/office/drawing/2014/main" val="20007"/>
                    </a:ext>
                  </a:extLst>
                </a:gridCol>
                <a:gridCol w="1244376">
                  <a:extLst>
                    <a:ext uri="{9D8B030D-6E8A-4147-A177-3AD203B41FA5}">
                      <a16:colId xmlns:a16="http://schemas.microsoft.com/office/drawing/2014/main" val="20008"/>
                    </a:ext>
                  </a:extLst>
                </a:gridCol>
                <a:gridCol w="1247284">
                  <a:extLst>
                    <a:ext uri="{9D8B030D-6E8A-4147-A177-3AD203B41FA5}">
                      <a16:colId xmlns:a16="http://schemas.microsoft.com/office/drawing/2014/main" val="20009"/>
                    </a:ext>
                  </a:extLst>
                </a:gridCol>
              </a:tblGrid>
              <a:tr h="235625">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38584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2861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a:effectLst/>
                          <a:latin typeface="Times New Roman" panose="02020603050405020304" pitchFamily="18" charset="0"/>
                          <a:cs typeface="Times New Roman" panose="02020603050405020304" pitchFamily="18" charset="0"/>
                        </a:rPr>
                        <a:t>843,08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a:effectLst/>
                          <a:latin typeface="Times New Roman" panose="02020603050405020304" pitchFamily="18" charset="0"/>
                          <a:cs typeface="Times New Roman" panose="02020603050405020304" pitchFamily="18" charset="0"/>
                        </a:rPr>
                        <a:t>848,67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71,70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275,43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a:effectLst/>
                          <a:latin typeface="Times New Roman" panose="02020603050405020304" pitchFamily="18" charset="0"/>
                          <a:cs typeface="Times New Roman" panose="02020603050405020304" pitchFamily="18" charset="0"/>
                        </a:rPr>
                        <a:t>447,14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6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dirty="0">
                          <a:effectLst/>
                          <a:latin typeface="Times New Roman" panose="02020603050405020304" pitchFamily="18" charset="0"/>
                          <a:cs typeface="Times New Roman" panose="02020603050405020304" pitchFamily="18" charset="0"/>
                        </a:rPr>
                        <a:t>53.04</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339,6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340,57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64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2,8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84,51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54.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273,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275,656</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4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5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41,004</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51.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22,5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23,324</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0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4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dirty="0">
                          <a:effectLst/>
                          <a:latin typeface="Times New Roman" panose="02020603050405020304" pitchFamily="18" charset="0"/>
                          <a:cs typeface="Times New Roman" panose="02020603050405020304" pitchFamily="18" charset="0"/>
                        </a:rPr>
                        <a:t>60,522</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49.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50,5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52,33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37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1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80,48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53.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230,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232,45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5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0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21,62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52.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2861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a:effectLst/>
                          <a:latin typeface="Times New Roman" panose="02020603050405020304" pitchFamily="18" charset="0"/>
                          <a:cs typeface="Times New Roman" panose="02020603050405020304" pitchFamily="18" charset="0"/>
                        </a:rPr>
                        <a:t>6.5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a:effectLst/>
                          <a:latin typeface="Times New Roman" panose="02020603050405020304" pitchFamily="18" charset="0"/>
                          <a:cs typeface="Times New Roman" panose="02020603050405020304" pitchFamily="18" charset="0"/>
                        </a:rPr>
                        <a:t>7.2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1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8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6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4.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4.29</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9.4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0.45</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4.4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15.1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dirty="0">
                          <a:effectLst/>
                          <a:latin typeface="Times New Roman" panose="02020603050405020304" pitchFamily="18" charset="0"/>
                          <a:cs typeface="Times New Roman" panose="02020603050405020304" pitchFamily="18" charset="0"/>
                        </a:rPr>
                        <a:t>5.70</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6.94</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2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ịc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ụ</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7.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7.9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t"/>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8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6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4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0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4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7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5723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1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5723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286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5723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5723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172,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72.8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145" marR="5145" marT="51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14226689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CBC7A17-9F40-F9E2-3D14-0D173740B2FD}"/>
              </a:ext>
            </a:extLst>
          </p:cNvPr>
          <p:cNvSpPr txBox="1"/>
          <p:nvPr/>
        </p:nvSpPr>
        <p:spPr>
          <a:xfrm>
            <a:off x="5059399" y="281941"/>
            <a:ext cx="3270870"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VÂN CANH</a:t>
            </a:r>
          </a:p>
        </p:txBody>
      </p:sp>
      <p:graphicFrame>
        <p:nvGraphicFramePr>
          <p:cNvPr id="2" name="Table 1"/>
          <p:cNvGraphicFramePr>
            <a:graphicFrameLocks noGrp="1"/>
          </p:cNvGraphicFramePr>
          <p:nvPr>
            <p:extLst>
              <p:ext uri="{D42A27DB-BD31-4B8C-83A1-F6EECF244321}">
                <p14:modId xmlns:p14="http://schemas.microsoft.com/office/powerpoint/2010/main" val="3586854290"/>
              </p:ext>
            </p:extLst>
          </p:nvPr>
        </p:nvGraphicFramePr>
        <p:xfrm>
          <a:off x="152400" y="898525"/>
          <a:ext cx="11849099" cy="5788782"/>
        </p:xfrm>
        <a:graphic>
          <a:graphicData uri="http://schemas.openxmlformats.org/drawingml/2006/table">
            <a:tbl>
              <a:tblPr>
                <a:tableStyleId>{5C22544A-7EE6-4342-B048-85BDC9FD1C3A}</a:tableStyleId>
              </a:tblPr>
              <a:tblGrid>
                <a:gridCol w="912962">
                  <a:extLst>
                    <a:ext uri="{9D8B030D-6E8A-4147-A177-3AD203B41FA5}">
                      <a16:colId xmlns:a16="http://schemas.microsoft.com/office/drawing/2014/main" val="20000"/>
                    </a:ext>
                  </a:extLst>
                </a:gridCol>
                <a:gridCol w="2797164">
                  <a:extLst>
                    <a:ext uri="{9D8B030D-6E8A-4147-A177-3AD203B41FA5}">
                      <a16:colId xmlns:a16="http://schemas.microsoft.com/office/drawing/2014/main" val="20001"/>
                    </a:ext>
                  </a:extLst>
                </a:gridCol>
                <a:gridCol w="1107210">
                  <a:extLst>
                    <a:ext uri="{9D8B030D-6E8A-4147-A177-3AD203B41FA5}">
                      <a16:colId xmlns:a16="http://schemas.microsoft.com/office/drawing/2014/main" val="20002"/>
                    </a:ext>
                  </a:extLst>
                </a:gridCol>
                <a:gridCol w="1204335">
                  <a:extLst>
                    <a:ext uri="{9D8B030D-6E8A-4147-A177-3AD203B41FA5}">
                      <a16:colId xmlns:a16="http://schemas.microsoft.com/office/drawing/2014/main" val="20003"/>
                    </a:ext>
                  </a:extLst>
                </a:gridCol>
                <a:gridCol w="1034366">
                  <a:extLst>
                    <a:ext uri="{9D8B030D-6E8A-4147-A177-3AD203B41FA5}">
                      <a16:colId xmlns:a16="http://schemas.microsoft.com/office/drawing/2014/main" val="20004"/>
                    </a:ext>
                  </a:extLst>
                </a:gridCol>
                <a:gridCol w="903251">
                  <a:extLst>
                    <a:ext uri="{9D8B030D-6E8A-4147-A177-3AD203B41FA5}">
                      <a16:colId xmlns:a16="http://schemas.microsoft.com/office/drawing/2014/main" val="20005"/>
                    </a:ext>
                  </a:extLst>
                </a:gridCol>
                <a:gridCol w="1048938">
                  <a:extLst>
                    <a:ext uri="{9D8B030D-6E8A-4147-A177-3AD203B41FA5}">
                      <a16:colId xmlns:a16="http://schemas.microsoft.com/office/drawing/2014/main" val="20006"/>
                    </a:ext>
                  </a:extLst>
                </a:gridCol>
                <a:gridCol w="1048938">
                  <a:extLst>
                    <a:ext uri="{9D8B030D-6E8A-4147-A177-3AD203B41FA5}">
                      <a16:colId xmlns:a16="http://schemas.microsoft.com/office/drawing/2014/main" val="20007"/>
                    </a:ext>
                  </a:extLst>
                </a:gridCol>
                <a:gridCol w="903251">
                  <a:extLst>
                    <a:ext uri="{9D8B030D-6E8A-4147-A177-3AD203B41FA5}">
                      <a16:colId xmlns:a16="http://schemas.microsoft.com/office/drawing/2014/main" val="20008"/>
                    </a:ext>
                  </a:extLst>
                </a:gridCol>
                <a:gridCol w="888684">
                  <a:extLst>
                    <a:ext uri="{9D8B030D-6E8A-4147-A177-3AD203B41FA5}">
                      <a16:colId xmlns:a16="http://schemas.microsoft.com/office/drawing/2014/main" val="20009"/>
                    </a:ext>
                  </a:extLst>
                </a:gridCol>
              </a:tblGrid>
              <a:tr h="160210">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u="none" strike="noStrike">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67270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Sơ bộ Quý I</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Quý II</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6817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  3,340,385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3,348,89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592,0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718,99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1,311,00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8.3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dirty="0">
                          <a:effectLst/>
                          <a:latin typeface="Times New Roman" panose="02020603050405020304" pitchFamily="18" charset="0"/>
                          <a:cs typeface="Times New Roman" panose="02020603050405020304" pitchFamily="18" charset="0"/>
                        </a:rPr>
                        <a:t>39.25</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720,987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4,4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9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2,91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7,8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2,166,93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69,7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9,0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2,5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61,6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17702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1,859,678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62,3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3,7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63,9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7,6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9.13</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7702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307,252 </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7,3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2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8,6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3,9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3.5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452,468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4,6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8,0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3,5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1,5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1.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6817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0.9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1.0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3.8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4.2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8.3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4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4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3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3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3.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6.0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3.8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4.20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54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9.74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79.8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6.0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2,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82,1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678.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20,525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2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7702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494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25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102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4.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3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1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1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1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5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5226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ạo việc làm mới (người)</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8851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0.995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3.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16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2950065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CBC7A17-9F40-F9E2-3D14-0D173740B2FD}"/>
              </a:ext>
            </a:extLst>
          </p:cNvPr>
          <p:cNvSpPr txBox="1"/>
          <p:nvPr/>
        </p:nvSpPr>
        <p:spPr>
          <a:xfrm>
            <a:off x="4773008" y="201342"/>
            <a:ext cx="3389481" cy="461665"/>
          </a:xfrm>
          <a:prstGeom prst="rect">
            <a:avLst/>
          </a:prstGeom>
          <a:noFill/>
        </p:spPr>
        <p:txBody>
          <a:bodyPr wrap="square">
            <a:spAutoFit/>
          </a:bodyPr>
          <a:lstStyle/>
          <a:p>
            <a:pPr>
              <a:lnSpc>
                <a:spcPct val="100000"/>
              </a:lnSpc>
            </a:pPr>
            <a:r>
              <a:rPr lang="vi-VN" sz="2400" b="1">
                <a:solidFill>
                  <a:srgbClr val="FF0000"/>
                </a:solidFill>
                <a:latin typeface="+mj-lt"/>
                <a:cs typeface="Arial" panose="020B0604020202020204" pitchFamily="34" charset="0"/>
              </a:rPr>
              <a:t>HUYỆN </a:t>
            </a:r>
            <a:r>
              <a:rPr lang="vi-VN" sz="2400" b="1" dirty="0">
                <a:solidFill>
                  <a:srgbClr val="FF0000"/>
                </a:solidFill>
                <a:latin typeface="+mj-lt"/>
                <a:cs typeface="Arial" panose="020B0604020202020204" pitchFamily="34" charset="0"/>
              </a:rPr>
              <a:t>VĨNH THẠNH</a:t>
            </a:r>
          </a:p>
        </p:txBody>
      </p:sp>
      <p:graphicFrame>
        <p:nvGraphicFramePr>
          <p:cNvPr id="3" name="Table 2"/>
          <p:cNvGraphicFramePr>
            <a:graphicFrameLocks noGrp="1"/>
          </p:cNvGraphicFramePr>
          <p:nvPr>
            <p:extLst>
              <p:ext uri="{D42A27DB-BD31-4B8C-83A1-F6EECF244321}">
                <p14:modId xmlns:p14="http://schemas.microsoft.com/office/powerpoint/2010/main" val="2412024590"/>
              </p:ext>
            </p:extLst>
          </p:nvPr>
        </p:nvGraphicFramePr>
        <p:xfrm>
          <a:off x="330199" y="763588"/>
          <a:ext cx="11557003" cy="5977490"/>
        </p:xfrm>
        <a:graphic>
          <a:graphicData uri="http://schemas.openxmlformats.org/drawingml/2006/table">
            <a:tbl>
              <a:tblPr>
                <a:tableStyleId>{5C22544A-7EE6-4342-B048-85BDC9FD1C3A}</a:tableStyleId>
              </a:tblPr>
              <a:tblGrid>
                <a:gridCol w="849195">
                  <a:extLst>
                    <a:ext uri="{9D8B030D-6E8A-4147-A177-3AD203B41FA5}">
                      <a16:colId xmlns:a16="http://schemas.microsoft.com/office/drawing/2014/main" val="20000"/>
                    </a:ext>
                  </a:extLst>
                </a:gridCol>
                <a:gridCol w="2526351">
                  <a:extLst>
                    <a:ext uri="{9D8B030D-6E8A-4147-A177-3AD203B41FA5}">
                      <a16:colId xmlns:a16="http://schemas.microsoft.com/office/drawing/2014/main" val="20001"/>
                    </a:ext>
                  </a:extLst>
                </a:gridCol>
                <a:gridCol w="827966">
                  <a:extLst>
                    <a:ext uri="{9D8B030D-6E8A-4147-A177-3AD203B41FA5}">
                      <a16:colId xmlns:a16="http://schemas.microsoft.com/office/drawing/2014/main" val="20002"/>
                    </a:ext>
                  </a:extLst>
                </a:gridCol>
                <a:gridCol w="1103953">
                  <a:extLst>
                    <a:ext uri="{9D8B030D-6E8A-4147-A177-3AD203B41FA5}">
                      <a16:colId xmlns:a16="http://schemas.microsoft.com/office/drawing/2014/main" val="20003"/>
                    </a:ext>
                  </a:extLst>
                </a:gridCol>
                <a:gridCol w="1135797">
                  <a:extLst>
                    <a:ext uri="{9D8B030D-6E8A-4147-A177-3AD203B41FA5}">
                      <a16:colId xmlns:a16="http://schemas.microsoft.com/office/drawing/2014/main" val="20004"/>
                    </a:ext>
                  </a:extLst>
                </a:gridCol>
                <a:gridCol w="843887">
                  <a:extLst>
                    <a:ext uri="{9D8B030D-6E8A-4147-A177-3AD203B41FA5}">
                      <a16:colId xmlns:a16="http://schemas.microsoft.com/office/drawing/2014/main" val="20005"/>
                    </a:ext>
                  </a:extLst>
                </a:gridCol>
                <a:gridCol w="997803">
                  <a:extLst>
                    <a:ext uri="{9D8B030D-6E8A-4147-A177-3AD203B41FA5}">
                      <a16:colId xmlns:a16="http://schemas.microsoft.com/office/drawing/2014/main" val="20006"/>
                    </a:ext>
                  </a:extLst>
                </a:gridCol>
                <a:gridCol w="997803">
                  <a:extLst>
                    <a:ext uri="{9D8B030D-6E8A-4147-A177-3AD203B41FA5}">
                      <a16:colId xmlns:a16="http://schemas.microsoft.com/office/drawing/2014/main" val="20007"/>
                    </a:ext>
                  </a:extLst>
                </a:gridCol>
                <a:gridCol w="1135797">
                  <a:extLst>
                    <a:ext uri="{9D8B030D-6E8A-4147-A177-3AD203B41FA5}">
                      <a16:colId xmlns:a16="http://schemas.microsoft.com/office/drawing/2014/main" val="20008"/>
                    </a:ext>
                  </a:extLst>
                </a:gridCol>
                <a:gridCol w="1138451">
                  <a:extLst>
                    <a:ext uri="{9D8B030D-6E8A-4147-A177-3AD203B41FA5}">
                      <a16:colId xmlns:a16="http://schemas.microsoft.com/office/drawing/2014/main" val="20009"/>
                    </a:ext>
                  </a:extLst>
                </a:gridCol>
              </a:tblGrid>
              <a:tr h="113920">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 hoạch năm 2023 UBND tỉnh thông báo</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 hoạch năm 2023 UBND cấp huyện gia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ết quả thực hiện 6 tháng đầu năm 2023</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6 tháng đầu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36512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Lũy kế 6 tháng đầu nă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với 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So với KH năm 2023 UBND tỉnh thông báo</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2235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dirty="0" err="1">
                          <a:effectLst/>
                          <a:latin typeface="Times New Roman" panose="02020603050405020304" pitchFamily="18" charset="0"/>
                          <a:cs typeface="Times New Roman" panose="02020603050405020304" pitchFamily="18" charset="0"/>
                        </a:rPr>
                        <a:t>Tổ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giá</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rị</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sản</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phẩm</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giá</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sánh</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b="1" u="none" strike="noStrike" dirty="0">
                          <a:effectLst/>
                          <a:latin typeface="Times New Roman" panose="02020603050405020304" pitchFamily="18" charset="0"/>
                          <a:cs typeface="Times New Roman" panose="02020603050405020304" pitchFamily="18" charset="0"/>
                        </a:rPr>
                        <a:t>Triệu đồng</a:t>
                      </a:r>
                      <a:endParaRPr lang="vi-VN"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         2,460,539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2,460,539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 504,414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       602,893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         1,107,306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6.71</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45.0</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4542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lâm</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thuỷ</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sản</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544,694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544,694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106,329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215,067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321,395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59.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0739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345,426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345,426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291,574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274,610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566,184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42.1</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0739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1,250,691 </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250,691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276,921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245,642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522,563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41.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6224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94,735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94,735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4,653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28,968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43,621 </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46.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4881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ịc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ụ</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570,419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570,419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106,511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113,216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219,727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38.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121709">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b="1" u="none" strike="noStrike">
                          <a:effectLst/>
                          <a:latin typeface="Times New Roman" panose="02020603050405020304" pitchFamily="18" charset="0"/>
                          <a:cs typeface="Times New Roman" panose="02020603050405020304" pitchFamily="18" charset="0"/>
                        </a:rPr>
                        <a:t>Tốc độ tăng giá trị sản phẩ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dirty="0">
                          <a:effectLst/>
                          <a:latin typeface="Times New Roman" panose="02020603050405020304" pitchFamily="18" charset="0"/>
                          <a:cs typeface="Times New Roman" panose="02020603050405020304" pitchFamily="18" charset="0"/>
                        </a:rPr>
                        <a:t>%</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                  7.76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                   7.76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9.6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4.3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6.7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3.7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3.7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10.71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10.71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11.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dirty="0">
                          <a:effectLst/>
                          <a:latin typeface="Times New Roman" panose="02020603050405020304" pitchFamily="18" charset="0"/>
                          <a:cs typeface="Times New Roman" panose="02020603050405020304" pitchFamily="18" charset="0"/>
                        </a:rPr>
                        <a:t>                 11.00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7.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7.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5.1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                   5.1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err="1">
                          <a:effectLst/>
                          <a:latin typeface="Times New Roman" panose="02020603050405020304" pitchFamily="18" charset="0"/>
                          <a:cs typeface="Times New Roman" panose="02020603050405020304" pitchFamily="18" charset="0"/>
                        </a:rPr>
                        <a:t>Triệu</a:t>
                      </a:r>
                      <a:r>
                        <a:rPr lang="en-US" sz="1100" u="none" strike="noStrike" dirty="0">
                          <a:effectLst/>
                          <a:latin typeface="Times New Roman" panose="02020603050405020304" pitchFamily="18" charset="0"/>
                          <a:cs typeface="Times New Roman" panose="02020603050405020304" pitchFamily="18" charset="0"/>
                        </a:rPr>
                        <a:t> USD</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4"/>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ổng thu ngân sách trên địa bà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7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5"/>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 Thu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riệu đồng</a:t>
                      </a:r>
                      <a:endParaRPr lang="vi-VN"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6"/>
                  </a:ext>
                </a:extLst>
              </a:tr>
              <a:tr h="24341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Tỷ đồng</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1,0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1,0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9,7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2,2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2,0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8"/>
                  </a:ext>
                </a:extLst>
              </a:tr>
              <a:tr h="24341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9"/>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Giảm tỷ lệ nghèo đa chiều</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2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0"/>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Người</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1"/>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Người</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2"/>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Đào tạo nghề lao động nông thô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dirty="0">
                          <a:effectLst/>
                          <a:latin typeface="Times New Roman" panose="02020603050405020304" pitchFamily="18" charset="0"/>
                          <a:cs typeface="Times New Roman" panose="02020603050405020304" pitchFamily="18" charset="0"/>
                        </a:rPr>
                        <a:t>Người</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r h="12170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4"/>
                  </a:ext>
                </a:extLst>
              </a:tr>
              <a:tr h="24341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5"/>
                  </a:ext>
                </a:extLst>
              </a:tr>
              <a:tr h="24341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11.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22419680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203089"/>
            <a:ext cx="11430000" cy="670056"/>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 name="Object 3">
            <a:extLst>
              <a:ext uri="{FF2B5EF4-FFF2-40B4-BE49-F238E27FC236}">
                <a16:creationId xmlns:a16="http://schemas.microsoft.com/office/drawing/2014/main" id="{95C94118-843D-0C4C-856C-08BC977115B6}"/>
              </a:ext>
            </a:extLst>
          </p:cNvPr>
          <p:cNvGraphicFramePr>
            <a:graphicFrameLocks noChangeAspect="1"/>
          </p:cNvGraphicFramePr>
          <p:nvPr>
            <p:extLst>
              <p:ext uri="{D42A27DB-BD31-4B8C-83A1-F6EECF244321}">
                <p14:modId xmlns:p14="http://schemas.microsoft.com/office/powerpoint/2010/main" val="2995227427"/>
              </p:ext>
            </p:extLst>
          </p:nvPr>
        </p:nvGraphicFramePr>
        <p:xfrm>
          <a:off x="1061645" y="1282811"/>
          <a:ext cx="9582150" cy="5372100"/>
        </p:xfrm>
        <a:graphic>
          <a:graphicData uri="http://schemas.openxmlformats.org/presentationml/2006/ole">
            <mc:AlternateContent xmlns:mc="http://schemas.openxmlformats.org/markup-compatibility/2006">
              <mc:Choice xmlns:v="urn:schemas-microsoft-com:vml" Requires="v">
                <p:oleObj name="Worksheet" r:id="rId3" imgW="9582120" imgH="5372260" progId="Excel.Sheet.12">
                  <p:embed/>
                </p:oleObj>
              </mc:Choice>
              <mc:Fallback>
                <p:oleObj name="Worksheet" r:id="rId3" imgW="9582120" imgH="5372260" progId="Excel.Sheet.12">
                  <p:embed/>
                  <p:pic>
                    <p:nvPicPr>
                      <p:cNvPr id="4" name="Object 3">
                        <a:extLst>
                          <a:ext uri="{FF2B5EF4-FFF2-40B4-BE49-F238E27FC236}">
                            <a16:creationId xmlns:a16="http://schemas.microsoft.com/office/drawing/2014/main" id="{95C94118-843D-0C4C-856C-08BC977115B6}"/>
                          </a:ext>
                        </a:extLst>
                      </p:cNvPr>
                      <p:cNvPicPr/>
                      <p:nvPr/>
                    </p:nvPicPr>
                    <p:blipFill>
                      <a:blip r:embed="rId4"/>
                      <a:stretch>
                        <a:fillRect/>
                      </a:stretch>
                    </p:blipFill>
                    <p:spPr>
                      <a:xfrm>
                        <a:off x="1061645" y="1282811"/>
                        <a:ext cx="9582150" cy="5372100"/>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319B6E8-E0FA-42B9-2B2A-B247DE1D39DA}"/>
              </a:ext>
            </a:extLst>
          </p:cNvPr>
          <p:cNvSpPr txBox="1"/>
          <p:nvPr/>
        </p:nvSpPr>
        <p:spPr>
          <a:xfrm>
            <a:off x="1029122" y="203089"/>
            <a:ext cx="9614673" cy="523220"/>
          </a:xfrm>
          <a:prstGeom prst="rect">
            <a:avLst/>
          </a:prstGeom>
          <a:noFill/>
        </p:spPr>
        <p:txBody>
          <a:bodyPr wrap="square">
            <a:spAutoFit/>
          </a:bodyPr>
          <a:lstStyle/>
          <a:p>
            <a:pPr>
              <a:lnSpc>
                <a:spcPct val="100000"/>
              </a:lnSpc>
            </a:pPr>
            <a:r>
              <a:rPr lang="vi-VN" sz="2800" b="1">
                <a:latin typeface="+mj-lt"/>
                <a:cs typeface="Arial" panose="020B0604020202020204" pitchFamily="34" charset="0"/>
              </a:rPr>
              <a:t>2. Chỉ tiêu Tổng giá trị sản phẩm các huyện, thị xã, thành phố</a:t>
            </a:r>
          </a:p>
        </p:txBody>
      </p:sp>
      <p:sp>
        <p:nvSpPr>
          <p:cNvPr id="3" name="Freeform 7">
            <a:extLst>
              <a:ext uri="{FF2B5EF4-FFF2-40B4-BE49-F238E27FC236}">
                <a16:creationId xmlns:a16="http://schemas.microsoft.com/office/drawing/2014/main" id="{8994FA03-C0F5-3BAB-63E2-5070725B45A7}"/>
              </a:ext>
            </a:extLst>
          </p:cNvPr>
          <p:cNvSpPr/>
          <p:nvPr/>
        </p:nvSpPr>
        <p:spPr>
          <a:xfrm>
            <a:off x="152400" y="355489"/>
            <a:ext cx="11430000" cy="670056"/>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39EB991-F16B-C0CE-8C81-5C98F9C72AAB}"/>
              </a:ext>
            </a:extLst>
          </p:cNvPr>
          <p:cNvSpPr txBox="1"/>
          <p:nvPr/>
        </p:nvSpPr>
        <p:spPr>
          <a:xfrm>
            <a:off x="1422224" y="630958"/>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Số liệu thực hiện</a:t>
            </a:r>
          </a:p>
        </p:txBody>
      </p:sp>
    </p:spTree>
    <p:extLst>
      <p:ext uri="{BB962C8B-B14F-4D97-AF65-F5344CB8AC3E}">
        <p14:creationId xmlns:p14="http://schemas.microsoft.com/office/powerpoint/2010/main" val="41025238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 name="Chart 3">
            <a:extLst>
              <a:ext uri="{FF2B5EF4-FFF2-40B4-BE49-F238E27FC236}">
                <a16:creationId xmlns:a16="http://schemas.microsoft.com/office/drawing/2014/main" id="{365C2945-1321-97F7-6CEB-6B75DD3AAE2D}"/>
              </a:ext>
            </a:extLst>
          </p:cNvPr>
          <p:cNvGraphicFramePr>
            <a:graphicFrameLocks/>
          </p:cNvGraphicFramePr>
          <p:nvPr>
            <p:extLst>
              <p:ext uri="{D42A27DB-BD31-4B8C-83A1-F6EECF244321}">
                <p14:modId xmlns:p14="http://schemas.microsoft.com/office/powerpoint/2010/main" val="2774130696"/>
              </p:ext>
            </p:extLst>
          </p:nvPr>
        </p:nvGraphicFramePr>
        <p:xfrm>
          <a:off x="1208015" y="985298"/>
          <a:ext cx="9546671" cy="558328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AD32428D-DFD3-1A5A-AD7B-B47617223596}"/>
              </a:ext>
            </a:extLst>
          </p:cNvPr>
          <p:cNvSpPr txBox="1"/>
          <p:nvPr/>
        </p:nvSpPr>
        <p:spPr>
          <a:xfrm>
            <a:off x="1288663" y="261817"/>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So sánh tốc độ tăng Tổng giá trị sản phẩm</a:t>
            </a:r>
          </a:p>
        </p:txBody>
      </p:sp>
    </p:spTree>
    <p:extLst>
      <p:ext uri="{BB962C8B-B14F-4D97-AF65-F5344CB8AC3E}">
        <p14:creationId xmlns:p14="http://schemas.microsoft.com/office/powerpoint/2010/main" val="42559449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6" name="Chart 5">
            <a:extLst>
              <a:ext uri="{FF2B5EF4-FFF2-40B4-BE49-F238E27FC236}">
                <a16:creationId xmlns:a16="http://schemas.microsoft.com/office/drawing/2014/main" id="{D930E6BF-6104-4528-12DB-4FA32E5E68E2}"/>
              </a:ext>
            </a:extLst>
          </p:cNvPr>
          <p:cNvGraphicFramePr>
            <a:graphicFrameLocks/>
          </p:cNvGraphicFramePr>
          <p:nvPr>
            <p:extLst>
              <p:ext uri="{D42A27DB-BD31-4B8C-83A1-F6EECF244321}">
                <p14:modId xmlns:p14="http://schemas.microsoft.com/office/powerpoint/2010/main" val="1296121793"/>
              </p:ext>
            </p:extLst>
          </p:nvPr>
        </p:nvGraphicFramePr>
        <p:xfrm>
          <a:off x="1392572" y="794026"/>
          <a:ext cx="9647339" cy="584166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438A3ED9-DC1A-7623-0986-EEE26CDF7043}"/>
              </a:ext>
            </a:extLst>
          </p:cNvPr>
          <p:cNvSpPr txBox="1"/>
          <p:nvPr/>
        </p:nvSpPr>
        <p:spPr>
          <a:xfrm>
            <a:off x="1392572" y="222309"/>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Cơ cấuTổng giá trị sản phẩm</a:t>
            </a:r>
          </a:p>
        </p:txBody>
      </p:sp>
    </p:spTree>
    <p:extLst>
      <p:ext uri="{BB962C8B-B14F-4D97-AF65-F5344CB8AC3E}">
        <p14:creationId xmlns:p14="http://schemas.microsoft.com/office/powerpoint/2010/main" val="25189568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077474659"/>
              </p:ext>
            </p:extLst>
          </p:nvPr>
        </p:nvGraphicFramePr>
        <p:xfrm>
          <a:off x="508973" y="1251190"/>
          <a:ext cx="11369838" cy="5090160"/>
        </p:xfrm>
        <a:graphic>
          <a:graphicData uri="http://schemas.openxmlformats.org/drawingml/2006/table">
            <a:tbl>
              <a:tblPr firstRow="1" bandRow="1"/>
              <a:tblGrid>
                <a:gridCol w="11369838">
                  <a:extLst>
                    <a:ext uri="{9D8B030D-6E8A-4147-A177-3AD203B41FA5}">
                      <a16:colId xmlns:a16="http://schemas.microsoft.com/office/drawing/2014/main" val="3655493598"/>
                    </a:ext>
                  </a:extLst>
                </a:gridCol>
              </a:tblGrid>
              <a:tr h="48894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Nhìn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chung trong 6 tháng đầu năm, dù gặp nhiều khó khăn nhưng tốc độ tăng Tổng giá trị sản phẩm của các huyện có sự tăng trưởng đáng kể,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biệt</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là</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á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Hoài Nhơn tăng 8,41%;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V</a:t>
                      </a:r>
                      <a:r>
                        <a:rPr lang="vi-VN" sz="2200" b="0" kern="1200">
                          <a:solidFill>
                            <a:schemeClr val="dk1"/>
                          </a:solidFill>
                          <a:effectLst/>
                          <a:latin typeface="Times New Roman" panose="02020603050405020304" pitchFamily="18" charset="0"/>
                          <a:ea typeface="+mn-ea"/>
                          <a:cs typeface="Times New Roman" panose="02020603050405020304" pitchFamily="18" charset="0"/>
                        </a:rPr>
                        <a:t>ân Canh tăng 8,37%, An Nhơn tăng 7,83%,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ây </a:t>
                      </a:r>
                      <a:r>
                        <a:rPr lang="vi-VN" sz="2200" b="0" kern="1200">
                          <a:solidFill>
                            <a:schemeClr val="dk1"/>
                          </a:solidFill>
                          <a:effectLst/>
                          <a:latin typeface="Times New Roman" panose="02020603050405020304" pitchFamily="18" charset="0"/>
                          <a:ea typeface="+mn-ea"/>
                          <a:cs typeface="Times New Roman" panose="02020603050405020304" pitchFamily="18" charset="0"/>
                        </a:rPr>
                        <a:t>Sơn tăng 7,77%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và An </a:t>
                      </a:r>
                      <a:r>
                        <a:rPr lang="vi-VN" sz="2200" b="0" kern="1200">
                          <a:solidFill>
                            <a:schemeClr val="dk1"/>
                          </a:solidFill>
                          <a:effectLst/>
                          <a:latin typeface="Times New Roman" panose="02020603050405020304" pitchFamily="18" charset="0"/>
                          <a:ea typeface="+mn-ea"/>
                          <a:cs typeface="Times New Roman" panose="02020603050405020304" pitchFamily="18" charset="0"/>
                        </a:rPr>
                        <a:t>Lão tăng 7,65%</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tx1"/>
                          </a:solidFill>
                          <a:effectLst/>
                          <a:latin typeface="Times New Roman" panose="02020603050405020304" pitchFamily="18" charset="0"/>
                          <a:ea typeface="+mn-ea"/>
                          <a:cs typeface="Times New Roman" panose="02020603050405020304" pitchFamily="18" charset="0"/>
                        </a:rPr>
                        <a:t>Có</a:t>
                      </a:r>
                      <a:r>
                        <a:rPr lang="en-US" sz="2200" b="0" kern="1200" baseline="0">
                          <a:solidFill>
                            <a:schemeClr val="tx1"/>
                          </a:solidFill>
                          <a:effectLst/>
                          <a:latin typeface="Times New Roman" panose="02020603050405020304" pitchFamily="18" charset="0"/>
                          <a:ea typeface="+mn-ea"/>
                          <a:cs typeface="Times New Roman" panose="02020603050405020304" pitchFamily="18" charset="0"/>
                        </a:rPr>
                        <a:t> một số huyện thu ngân sách 6 tháng đầu năm đã vượt dự toán cả năm 2023, nổi bật là </a:t>
                      </a:r>
                      <a:r>
                        <a:rPr lang="vi-VN" sz="2200" b="0" kern="1200">
                          <a:solidFill>
                            <a:schemeClr val="tx1"/>
                          </a:solidFill>
                          <a:effectLst/>
                          <a:latin typeface="Times New Roman" panose="02020603050405020304" pitchFamily="18" charset="0"/>
                          <a:ea typeface="+mn-ea"/>
                          <a:cs typeface="Times New Roman" panose="02020603050405020304" pitchFamily="18" charset="0"/>
                        </a:rPr>
                        <a:t>huyện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Phù Cát hơn 700 tỷ đồng (đạt 138,1% dự </a:t>
                      </a:r>
                      <a:r>
                        <a:rPr lang="vi-VN" sz="2200" b="0" kern="1200">
                          <a:solidFill>
                            <a:schemeClr val="tx1"/>
                          </a:solidFill>
                          <a:effectLst/>
                          <a:latin typeface="Times New Roman" panose="02020603050405020304" pitchFamily="18" charset="0"/>
                          <a:ea typeface="+mn-ea"/>
                          <a:cs typeface="Times New Roman" panose="02020603050405020304" pitchFamily="18" charset="0"/>
                        </a:rPr>
                        <a:t>toán giao,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ăng 50,7% so cùng </a:t>
                      </a:r>
                      <a:r>
                        <a:rPr lang="vi-VN" sz="2200" b="0" kern="1200">
                          <a:solidFill>
                            <a:schemeClr val="tx1"/>
                          </a:solidFill>
                          <a:effectLst/>
                          <a:latin typeface="Times New Roman" panose="02020603050405020304" pitchFamily="18" charset="0"/>
                          <a:ea typeface="+mn-ea"/>
                          <a:cs typeface="Times New Roman" panose="02020603050405020304" pitchFamily="18" charset="0"/>
                        </a:rPr>
                        <a:t>kỳ); Hoài Ân 108,5 tỷ đồng</a:t>
                      </a: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đạ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109% dự toán năm và tăng 21,1% so </a:t>
                      </a:r>
                      <a:r>
                        <a:rPr lang="vi-VN" sz="2200" b="0" kern="1200">
                          <a:solidFill>
                            <a:schemeClr val="tx1"/>
                          </a:solidFill>
                          <a:effectLst/>
                          <a:latin typeface="Times New Roman" panose="02020603050405020304" pitchFamily="18" charset="0"/>
                          <a:ea typeface="+mn-ea"/>
                          <a:cs typeface="Times New Roman" panose="02020603050405020304" pitchFamily="18" charset="0"/>
                        </a:rPr>
                        <a:t>cùng kỳ; Vân Canh</a:t>
                      </a: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92,5 tỷ đồng, đạt 112,7% dự toán và tăng 37,5% so cùng kỳ.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Riêng</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tiền</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sử</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dụng</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đất</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Có 3 địa phương thu 6 tháng đầu năm vượt dự toán cả năm 2023 là </a:t>
                      </a:r>
                      <a:r>
                        <a:rPr lang="vi-VN" sz="2200" b="0" kern="1200">
                          <a:solidFill>
                            <a:schemeClr val="tx1"/>
                          </a:solidFill>
                          <a:effectLst/>
                          <a:latin typeface="Times New Roman" panose="02020603050405020304" pitchFamily="18" charset="0"/>
                          <a:ea typeface="+mn-ea"/>
                          <a:cs typeface="Times New Roman" panose="02020603050405020304" pitchFamily="18" charset="0"/>
                        </a:rPr>
                        <a:t>Phù Cát (109,5% dự toán), Hoài Ân (142,2% dự toán)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và </a:t>
                      </a:r>
                      <a:r>
                        <a:rPr lang="vi-VN" sz="2200" b="0" kern="1200">
                          <a:solidFill>
                            <a:schemeClr val="tx1"/>
                          </a:solidFill>
                          <a:effectLst/>
                          <a:latin typeface="Times New Roman" panose="02020603050405020304" pitchFamily="18" charset="0"/>
                          <a:ea typeface="+mn-ea"/>
                          <a:cs typeface="Times New Roman" panose="02020603050405020304" pitchFamily="18" charset="0"/>
                        </a:rPr>
                        <a:t>An Lão (196% dự toán),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góp phần tạo điều kiện đẩy mạnh chi đầu tư phát triển từ nguồn thu tiền sử dụng đất.</a:t>
                      </a:r>
                      <a:endParaRPr lang="en-US" sz="22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Thu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hút đầu tư</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bước</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tiến</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áng</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kể</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nay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ã</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thu</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hút</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39/60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dự</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án</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trong</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ó</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tx1"/>
                          </a:solidFill>
                          <a:effectLst/>
                          <a:latin typeface="Times New Roman" panose="02020603050405020304" pitchFamily="18" charset="0"/>
                          <a:ea typeface="+mn-ea"/>
                          <a:cs typeface="Times New Roman" panose="02020603050405020304" pitchFamily="18" charset="0"/>
                        </a:rPr>
                        <a:t>trên</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địa</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tx1"/>
                          </a:solidFill>
                          <a:effectLst/>
                          <a:latin typeface="Times New Roman" panose="02020603050405020304" pitchFamily="18" charset="0"/>
                          <a:ea typeface="+mn-ea"/>
                          <a:cs typeface="Times New Roman" panose="02020603050405020304" pitchFamily="18" charset="0"/>
                        </a:rPr>
                        <a:t>bàn</a:t>
                      </a:r>
                      <a:r>
                        <a:rPr lang="en-US" sz="22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 Tây Sơn và Phù Mỹ 07 dự án mỗi địa phương</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hị xã Hoài Nhơn 05 dự án; thành phố Quy Nhơn 04 dự án; huyện Phù Cát 03 dự án; huyện Tuy Phước 02 dự án; huyện Hoài Ân 02 dự án và huyện Vân Canh 01 dự án</a:t>
                      </a:r>
                      <a:r>
                        <a:rPr lang="en-US" sz="2200" b="0" kern="1200">
                          <a:solidFill>
                            <a:schemeClr val="tx1"/>
                          </a:solidFill>
                          <a:effectLst/>
                          <a:latin typeface="Times New Roman" panose="02020603050405020304" pitchFamily="18" charset="0"/>
                          <a:ea typeface="+mn-ea"/>
                          <a:cs typeface="Times New Roman" panose="02020603050405020304" pitchFamily="18" charset="0"/>
                        </a:rPr>
                        <a:t>. </a:t>
                      </a:r>
                      <a:endParaRPr lang="vi-VN" sz="22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FF5FE1AB-790D-F2AD-5642-8CFCF4209F5A}"/>
              </a:ext>
            </a:extLst>
          </p:cNvPr>
          <p:cNvSpPr txBox="1"/>
          <p:nvPr/>
        </p:nvSpPr>
        <p:spPr>
          <a:xfrm>
            <a:off x="1323769" y="717340"/>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Những điểm nổi bật</a:t>
            </a:r>
          </a:p>
        </p:txBody>
      </p:sp>
      <p:sp>
        <p:nvSpPr>
          <p:cNvPr id="3" name="TextBox 2">
            <a:extLst>
              <a:ext uri="{FF2B5EF4-FFF2-40B4-BE49-F238E27FC236}">
                <a16:creationId xmlns:a16="http://schemas.microsoft.com/office/drawing/2014/main" id="{D5A12347-8B3F-FD0A-4985-F0A0362D6EDD}"/>
              </a:ext>
            </a:extLst>
          </p:cNvPr>
          <p:cNvSpPr txBox="1"/>
          <p:nvPr/>
        </p:nvSpPr>
        <p:spPr>
          <a:xfrm>
            <a:off x="888939" y="325814"/>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Nhận xét</a:t>
            </a:r>
          </a:p>
        </p:txBody>
      </p:sp>
    </p:spTree>
    <p:extLst>
      <p:ext uri="{BB962C8B-B14F-4D97-AF65-F5344CB8AC3E}">
        <p14:creationId xmlns:p14="http://schemas.microsoft.com/office/powerpoint/2010/main" val="3095520690"/>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157063114"/>
              </p:ext>
            </p:extLst>
          </p:nvPr>
        </p:nvGraphicFramePr>
        <p:xfrm>
          <a:off x="604507" y="1003534"/>
          <a:ext cx="11244267" cy="5157500"/>
        </p:xfrm>
        <a:graphic>
          <a:graphicData uri="http://schemas.openxmlformats.org/drawingml/2006/table">
            <a:tbl>
              <a:tblPr firstRow="1" bandRow="1"/>
              <a:tblGrid>
                <a:gridCol w="11244267">
                  <a:extLst>
                    <a:ext uri="{9D8B030D-6E8A-4147-A177-3AD203B41FA5}">
                      <a16:colId xmlns:a16="http://schemas.microsoft.com/office/drawing/2014/main" val="3655493598"/>
                    </a:ext>
                  </a:extLst>
                </a:gridCol>
              </a:tblGrid>
              <a:tr h="51575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rong công tác phối hợp, thời gian qua UBND các huyện, thị xã, thành phố đã rất tích cực cùng với các cơ quan liên quan của tỉnh giải quyết các khó khăn vướng mắc của nhà đầu tư một cách kịp thời, đặc biệt là công tác bồi thường, giải phóng mặt bằng (điển hình như huyện Tây Sơn, Phù Cát,…)</a:t>
                      </a:r>
                      <a:endParaRPr lang="en-US" sz="22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Times New Roman" panose="02020603050405020304" pitchFamily="18" charset="0"/>
                          <a:ea typeface="+mn-ea"/>
                          <a:cs typeface="Times New Roman" panose="02020603050405020304" pitchFamily="18" charset="0"/>
                        </a:rPr>
                        <a:t>Các</a:t>
                      </a:r>
                      <a:r>
                        <a:rPr lang="en-US" sz="2200" b="0" kern="1200" baseline="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ó</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sự</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ố</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gắ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rất</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lớn</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tro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ô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tá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môi</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iển</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hình</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là</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ỷ lệ thu gom chất thải rắn đô thị</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ính</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dến</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nay,</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địa phươ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3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phương</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ượ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kế hoạch tỉnh gia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Qu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Times New Roman" panose="02020603050405020304" pitchFamily="18" charset="0"/>
                          <a:ea typeface="+mn-ea"/>
                          <a:cs typeface="Times New Roman" panose="02020603050405020304" pitchFamily="18" charset="0"/>
                        </a:rPr>
                        <a:t>(97,33</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96%), An </a:t>
                      </a:r>
                      <a:r>
                        <a:rPr lang="en-US" sz="2200" b="0" kern="1200" err="1">
                          <a:solidFill>
                            <a:schemeClr val="dk1"/>
                          </a:solidFill>
                          <a:effectLst/>
                          <a:latin typeface="Times New Roman" panose="02020603050405020304" pitchFamily="18" charset="0"/>
                          <a:ea typeface="+mn-ea"/>
                          <a:cs typeface="Times New Roman" panose="02020603050405020304" pitchFamily="18" charset="0"/>
                        </a:rPr>
                        <a:t>Lão</a:t>
                      </a:r>
                      <a:r>
                        <a:rPr lang="en-US" sz="2200" b="0" kern="1200">
                          <a:solidFill>
                            <a:schemeClr val="dk1"/>
                          </a:solidFill>
                          <a:effectLst/>
                          <a:latin typeface="Times New Roman" panose="02020603050405020304" pitchFamily="18" charset="0"/>
                          <a:ea typeface="+mn-ea"/>
                          <a:cs typeface="Times New Roman" panose="02020603050405020304" pitchFamily="18" charset="0"/>
                        </a:rPr>
                        <a:t> (61,63</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r>
                        <a:rPr lang="en-US" sz="2200" b="0" kern="1200">
                          <a:solidFill>
                            <a:schemeClr val="dk1"/>
                          </a:solidFill>
                          <a:effectLst/>
                          <a:latin typeface="Times New Roman" panose="02020603050405020304" pitchFamily="18" charset="0"/>
                          <a:ea typeface="+mn-ea"/>
                          <a:cs typeface="Times New Roman" panose="02020603050405020304" pitchFamily="18" charset="0"/>
                        </a:rPr>
                        <a:t>49%),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â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err="1">
                          <a:solidFill>
                            <a:schemeClr val="dk1"/>
                          </a:solidFill>
                          <a:effectLst/>
                          <a:latin typeface="Times New Roman" panose="02020603050405020304" pitchFamily="18" charset="0"/>
                          <a:ea typeface="+mn-ea"/>
                          <a:cs typeface="Times New Roman" panose="02020603050405020304" pitchFamily="18" charset="0"/>
                        </a:rPr>
                        <a:t>Canh</a:t>
                      </a:r>
                      <a:r>
                        <a:rPr lang="en-US" sz="2200" b="0" kern="1200">
                          <a:solidFill>
                            <a:schemeClr val="dk1"/>
                          </a:solidFill>
                          <a:effectLst/>
                          <a:latin typeface="Times New Roman" panose="02020603050405020304" pitchFamily="18" charset="0"/>
                          <a:ea typeface="+mn-ea"/>
                          <a:cs typeface="Times New Roman" panose="02020603050405020304" pitchFamily="18" charset="0"/>
                        </a:rPr>
                        <a:t> (70,02</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r>
                        <a:rPr lang="en-US" sz="2200" b="0" kern="1200">
                          <a:solidFill>
                            <a:schemeClr val="dk1"/>
                          </a:solidFill>
                          <a:effectLst/>
                          <a:latin typeface="Times New Roman" panose="02020603050405020304" pitchFamily="18" charset="0"/>
                          <a:ea typeface="+mn-ea"/>
                          <a:cs typeface="Times New Roman" panose="02020603050405020304" pitchFamily="18" charset="0"/>
                        </a:rPr>
                        <a:t>68%</a:t>
                      </a:r>
                      <a:r>
                        <a:rPr lang="vi-VN" sz="2200" b="0" kern="1200">
                          <a:solidFill>
                            <a:schemeClr val="dk1"/>
                          </a:solidFill>
                          <a:effectLst/>
                          <a:latin typeface="Times New Roman" panose="02020603050405020304" pitchFamily="18" charset="0"/>
                          <a:ea typeface="+mn-ea"/>
                          <a:cs typeface="Times New Roman" panose="02020603050405020304" pitchFamily="18" charset="0"/>
                        </a:rPr>
                        <a: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 Công</a:t>
                      </a:r>
                      <a:r>
                        <a:rPr lang="en-US" sz="2200" b="0" kern="1200" baseline="0">
                          <a:solidFill>
                            <a:schemeClr val="dk1"/>
                          </a:solidFill>
                          <a:effectLst/>
                          <a:latin typeface="Times New Roman" panose="02020603050405020304" pitchFamily="18" charset="0"/>
                          <a:ea typeface="+mn-ea"/>
                          <a:cs typeface="Times New Roman" panose="02020603050405020304" pitchFamily="18" charset="0"/>
                        </a:rPr>
                        <a:t> tác t</a:t>
                      </a:r>
                      <a:r>
                        <a:rPr lang="en-US" sz="2200" b="0" kern="1200">
                          <a:solidFill>
                            <a:schemeClr val="dk1"/>
                          </a:solidFill>
                          <a:effectLst/>
                          <a:latin typeface="Times New Roman" panose="02020603050405020304" pitchFamily="18" charset="0"/>
                          <a:ea typeface="+mn-ea"/>
                          <a:cs typeface="Times New Roman" panose="02020603050405020304" pitchFamily="18" charset="0"/>
                        </a:rPr>
                        <a:t>ạo</a:t>
                      </a:r>
                      <a:r>
                        <a:rPr lang="en-US" sz="2200" b="0" kern="1200" baseline="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việ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làm</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ho</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lao</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ộ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ũ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ác</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chú</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baseline="0" dirty="0" err="1">
                          <a:solidFill>
                            <a:schemeClr val="dk1"/>
                          </a:solidFill>
                          <a:effectLst/>
                          <a:latin typeface="Times New Roman" panose="02020603050405020304" pitchFamily="18" charset="0"/>
                          <a:ea typeface="+mn-ea"/>
                          <a:cs typeface="Times New Roman" panose="02020603050405020304" pitchFamily="18" charset="0"/>
                        </a:rPr>
                        <a:t>trọng</a:t>
                      </a:r>
                      <a:r>
                        <a:rPr lang="en-US" sz="22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heo báo cáo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ĐTBXH</a:t>
                      </a: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tạo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việc làm mới các địa phương đến nay đều đạt trên 50% kế hoạch giao (ngoại trừ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â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a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30%,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ù</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á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39%,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ĩ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hạ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47%</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huyện đạt cao nhất là Tuy Phước đạt 98% kế hoạch giao, An Nhơn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Qu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ề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đạt 6</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2</a:t>
                      </a:r>
                      <a:r>
                        <a:rPr lang="vi-VN" sz="2200" b="0" kern="1200">
                          <a:solidFill>
                            <a:schemeClr val="dk1"/>
                          </a:solidFill>
                          <a:effectLst/>
                          <a:latin typeface="Times New Roman" panose="02020603050405020304" pitchFamily="18" charset="0"/>
                          <a:ea typeface="+mn-ea"/>
                          <a:cs typeface="Times New Roman" panose="02020603050405020304" pitchFamily="18" charset="0"/>
                        </a:rPr>
                        <a:t>% kế hoạch giao,…</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EAEE3DC6-2C24-8C50-E398-E5005906C42E}"/>
              </a:ext>
            </a:extLst>
          </p:cNvPr>
          <p:cNvSpPr txBox="1"/>
          <p:nvPr/>
        </p:nvSpPr>
        <p:spPr>
          <a:xfrm>
            <a:off x="1214713" y="449590"/>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Những điểm nổi bật (tt)</a:t>
            </a:r>
          </a:p>
        </p:txBody>
      </p:sp>
    </p:spTree>
    <p:extLst>
      <p:ext uri="{BB962C8B-B14F-4D97-AF65-F5344CB8AC3E}">
        <p14:creationId xmlns:p14="http://schemas.microsoft.com/office/powerpoint/2010/main" val="52002049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798185629"/>
              </p:ext>
            </p:extLst>
          </p:nvPr>
        </p:nvGraphicFramePr>
        <p:xfrm>
          <a:off x="413438" y="829369"/>
          <a:ext cx="11244267" cy="5053672"/>
        </p:xfrm>
        <a:graphic>
          <a:graphicData uri="http://schemas.openxmlformats.org/drawingml/2006/table">
            <a:tbl>
              <a:tblPr firstRow="1" bandRow="1"/>
              <a:tblGrid>
                <a:gridCol w="11244267">
                  <a:extLst>
                    <a:ext uri="{9D8B030D-6E8A-4147-A177-3AD203B41FA5}">
                      <a16:colId xmlns:a16="http://schemas.microsoft.com/office/drawing/2014/main" val="3655493598"/>
                    </a:ext>
                  </a:extLst>
                </a:gridCol>
              </a:tblGrid>
              <a:tr h="50536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uy</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ị</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sự</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ă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rưởng</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nhưng một số</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địa</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phương có </a:t>
                      </a:r>
                      <a:r>
                        <a:rPr lang="vi-VN" sz="2000" b="0" kern="1200">
                          <a:solidFill>
                            <a:schemeClr val="dk1"/>
                          </a:solidFill>
                          <a:effectLst/>
                          <a:latin typeface="Times New Roman" panose="02020603050405020304" pitchFamily="18" charset="0"/>
                          <a:ea typeface="+mn-ea"/>
                          <a:cs typeface="Times New Roman" panose="02020603050405020304" pitchFamily="18" charset="0"/>
                        </a:rPr>
                        <a:t>Tổng giá trị sản phẩm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chiếm tỷ trọng lớn trong </a:t>
                      </a:r>
                      <a:r>
                        <a:rPr lang="vi-VN" sz="2000" b="0" kern="1200">
                          <a:solidFill>
                            <a:schemeClr val="dk1"/>
                          </a:solidFill>
                          <a:effectLst/>
                          <a:latin typeface="Times New Roman" panose="02020603050405020304" pitchFamily="18" charset="0"/>
                          <a:ea typeface="+mn-ea"/>
                          <a:cs typeface="Times New Roman" panose="02020603050405020304" pitchFamily="18" charset="0"/>
                        </a:rPr>
                        <a:t>cơ cấu lại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ó tốc độ tăng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ấp</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hơn</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mức tăng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bình</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quân</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của cả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6,37</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như</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Quy Nhơn chiếm tỷ trọng hơn 37% </a:t>
                      </a:r>
                      <a:r>
                        <a:rPr lang="vi-VN" sz="2000" b="0" kern="1200">
                          <a:solidFill>
                            <a:schemeClr val="dk1"/>
                          </a:solidFill>
                          <a:effectLst/>
                          <a:latin typeface="Times New Roman" panose="02020603050405020304" pitchFamily="18" charset="0"/>
                          <a:ea typeface="+mn-ea"/>
                          <a:cs typeface="Times New Roman" panose="02020603050405020304" pitchFamily="18" charset="0"/>
                        </a:rPr>
                        <a:t>nhưng tăng 5,31%;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Phù Mỹ chiếm tỷ trọng hơn 8%, tăng </a:t>
                      </a:r>
                      <a:r>
                        <a:rPr lang="vi-VN" sz="2000" b="0" kern="1200">
                          <a:solidFill>
                            <a:schemeClr val="dk1"/>
                          </a:solidFill>
                          <a:effectLst/>
                          <a:latin typeface="Times New Roman" panose="02020603050405020304" pitchFamily="18" charset="0"/>
                          <a:ea typeface="+mn-ea"/>
                          <a:cs typeface="Times New Roman" panose="02020603050405020304" pitchFamily="18" charset="0"/>
                        </a:rPr>
                        <a:t>5,08%; Tuy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Phước chiếm trên 7,8% tăng 5,05%.</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u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ở</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một</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phương</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đạt thấp dẫn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đến</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ổng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ngân</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sách của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6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hấp</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hơn</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kỳ</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rướ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giảm </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24,8%).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err="1">
                          <a:solidFill>
                            <a:schemeClr val="dk1"/>
                          </a:solidFill>
                          <a:effectLst/>
                          <a:latin typeface="Times New Roman" panose="02020603050405020304" pitchFamily="18" charset="0"/>
                          <a:ea typeface="+mn-ea"/>
                          <a:cs typeface="Times New Roman" panose="02020603050405020304" pitchFamily="18" charset="0"/>
                        </a:rPr>
                        <a:t>địa</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phương có tiến độ thực hiện thu ngân sách </a:t>
                      </a:r>
                      <a:r>
                        <a:rPr lang="vi-VN" sz="2000" b="0" kern="1200">
                          <a:solidFill>
                            <a:schemeClr val="dk1"/>
                          </a:solidFill>
                          <a:effectLst/>
                          <a:latin typeface="Times New Roman" panose="02020603050405020304" pitchFamily="18" charset="0"/>
                          <a:ea typeface="+mn-ea"/>
                          <a:cs typeface="Times New Roman" panose="02020603050405020304" pitchFamily="18" charset="0"/>
                        </a:rPr>
                        <a:t>thấp</a:t>
                      </a:r>
                      <a:r>
                        <a:rPr lang="en-US" sz="2000" b="0" kern="1200">
                          <a:solidFill>
                            <a:schemeClr val="dk1"/>
                          </a:solidFill>
                          <a:effectLst/>
                          <a:latin typeface="Times New Roman" panose="02020603050405020304" pitchFamily="18" charset="0"/>
                          <a:ea typeface="+mn-ea"/>
                          <a:cs typeface="Times New Roman" panose="02020603050405020304" pitchFamily="18" charset="0"/>
                        </a:rPr>
                        <a:t> như:</a:t>
                      </a:r>
                      <a:endParaRPr lang="en-US"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65760" algn="just" defTabSz="1219170" rtl="0" eaLnBrk="1" fontAlgn="auto" latinLnBrk="0" hangingPunct="1">
                        <a:lnSpc>
                          <a:spcPct val="100000"/>
                        </a:lnSpc>
                        <a:spcBef>
                          <a:spcPts val="0"/>
                        </a:spcBef>
                        <a:spcAft>
                          <a:spcPts val="1200"/>
                        </a:spcAft>
                        <a:buClrTx/>
                        <a:buSzTx/>
                        <a:buFont typeface="Arial"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Hoài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hơn, đạt 35,2% dự toán năm và giảm 32,3% so </a:t>
                      </a:r>
                      <a:r>
                        <a:rPr lang="vi-VN" sz="2000" b="0" kern="1200">
                          <a:solidFill>
                            <a:schemeClr val="dk1"/>
                          </a:solidFill>
                          <a:effectLst/>
                          <a:latin typeface="Times New Roman" panose="02020603050405020304" pitchFamily="18" charset="0"/>
                          <a:ea typeface="+mn-ea"/>
                          <a:cs typeface="Times New Roman" panose="02020603050405020304" pitchFamily="18" charset="0"/>
                        </a:rPr>
                        <a:t>cùng kỳ</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65760" algn="just" defTabSz="1219170" rtl="0" eaLnBrk="1" fontAlgn="auto" latinLnBrk="0" hangingPunct="1">
                        <a:lnSpc>
                          <a:spcPct val="100000"/>
                        </a:lnSpc>
                        <a:spcBef>
                          <a:spcPts val="0"/>
                        </a:spcBef>
                        <a:spcAft>
                          <a:spcPts val="1200"/>
                        </a:spcAft>
                        <a:buClrTx/>
                        <a:buSzTx/>
                        <a:buFont typeface="Arial" pitchFamily="34" charset="0"/>
                        <a:buChar char="•"/>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uy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Phước đạt 39,4% dự toán năm, giảm 38,4% so </a:t>
                      </a:r>
                      <a:r>
                        <a:rPr lang="vi-VN" sz="2000" b="0" kern="1200">
                          <a:solidFill>
                            <a:schemeClr val="dk1"/>
                          </a:solidFill>
                          <a:effectLst/>
                          <a:latin typeface="Times New Roman" panose="02020603050405020304" pitchFamily="18" charset="0"/>
                          <a:ea typeface="+mn-ea"/>
                          <a:cs typeface="Times New Roman" panose="02020603050405020304" pitchFamily="18" charset="0"/>
                        </a:rPr>
                        <a:t>cùng kỳ</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65760" algn="just" defTabSz="1219170" rtl="0" eaLnBrk="1" fontAlgn="auto" latinLnBrk="0" hangingPunct="1">
                        <a:lnSpc>
                          <a:spcPct val="100000"/>
                        </a:lnSpc>
                        <a:spcBef>
                          <a:spcPts val="0"/>
                        </a:spcBef>
                        <a:spcAft>
                          <a:spcPts val="1200"/>
                        </a:spcAft>
                        <a:buClrTx/>
                        <a:buSzTx/>
                        <a:buFont typeface="Arial" pitchFamily="34" charset="0"/>
                        <a:buChar char="•"/>
                        <a:tabLst/>
                        <a:defRPr/>
                      </a:pP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02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địa phương này có dự toán thu tiền sử dụng đất năm 2023 cao nhưng đến 6 tháng chỉ thu đạt 18,5% (Hoài Nhơn) </a:t>
                      </a:r>
                      <a:r>
                        <a:rPr lang="vi-VN" sz="2000" b="0" kern="1200">
                          <a:solidFill>
                            <a:schemeClr val="dk1"/>
                          </a:solidFill>
                          <a:effectLst/>
                          <a:latin typeface="Times New Roman" panose="02020603050405020304" pitchFamily="18" charset="0"/>
                          <a:ea typeface="+mn-ea"/>
                          <a:cs typeface="Times New Roman" panose="02020603050405020304" pitchFamily="18" charset="0"/>
                        </a:rPr>
                        <a:t>và 29,1% (Tuy Phước)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dự to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9B1EE58E-003F-122B-AAA3-4CD0DC67997A}"/>
              </a:ext>
            </a:extLst>
          </p:cNvPr>
          <p:cNvSpPr/>
          <p:nvPr/>
        </p:nvSpPr>
        <p:spPr>
          <a:xfrm>
            <a:off x="905890" y="237075"/>
            <a:ext cx="4858061"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b) </a:t>
            </a:r>
            <a:r>
              <a:rPr lang="en-US" sz="2400" b="1" spc="-20" dirty="0" err="1">
                <a:solidFill>
                  <a:srgbClr val="100717"/>
                </a:solidFill>
                <a:latin typeface="Times New Roman" panose="02020603050405020304" pitchFamily="18" charset="0"/>
                <a:cs typeface="Times New Roman" panose="02020603050405020304" pitchFamily="18" charset="0"/>
              </a:rPr>
              <a:t>Nhữ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hạ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ế</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ồ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ầ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ú</a:t>
            </a:r>
            <a:r>
              <a:rPr lang="en-US" sz="2400" b="1" spc="-20" dirty="0">
                <a:solidFill>
                  <a:srgbClr val="100717"/>
                </a:solidFill>
                <a:latin typeface="Times New Roman" panose="02020603050405020304" pitchFamily="18" charset="0"/>
                <a:cs typeface="Times New Roman" panose="02020603050405020304" pitchFamily="18" charset="0"/>
              </a:rPr>
              <a:t> ý </a:t>
            </a:r>
          </a:p>
        </p:txBody>
      </p:sp>
    </p:spTree>
    <p:extLst>
      <p:ext uri="{BB962C8B-B14F-4D97-AF65-F5344CB8AC3E}">
        <p14:creationId xmlns:p14="http://schemas.microsoft.com/office/powerpoint/2010/main" val="3887791985"/>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4847" y="597229"/>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2B60E389-3C15-E216-2343-FACD1755B5AD}"/>
              </a:ext>
            </a:extLst>
          </p:cNvPr>
          <p:cNvGraphicFramePr>
            <a:graphicFrameLocks noGrp="1"/>
          </p:cNvGraphicFramePr>
          <p:nvPr>
            <p:extLst>
              <p:ext uri="{D42A27DB-BD31-4B8C-83A1-F6EECF244321}">
                <p14:modId xmlns:p14="http://schemas.microsoft.com/office/powerpoint/2010/main" val="189572638"/>
              </p:ext>
            </p:extLst>
          </p:nvPr>
        </p:nvGraphicFramePr>
        <p:xfrm>
          <a:off x="521698" y="4440977"/>
          <a:ext cx="11244551" cy="1920240"/>
        </p:xfrm>
        <a:graphic>
          <a:graphicData uri="http://schemas.openxmlformats.org/drawingml/2006/table">
            <a:tbl>
              <a:tblPr firstRow="1" bandRow="1"/>
              <a:tblGrid>
                <a:gridCol w="1124455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ông tác </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chuyển đổi cơ cấu cây trồ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được đẩy mạ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ình hình chăn nuôi phát triển tương đối ổn định, nguồn cung được đảm bảo tuy nhiên giá thức ăn chăn nuôi tăng cao liên tục, tạo áp lực lớn đối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người chăn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uô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Hoạt động</a:t>
                      </a:r>
                      <a:r>
                        <a:rPr lang="af-ZA" sz="2000" b="0" kern="1200" dirty="0">
                          <a:solidFill>
                            <a:schemeClr val="dk1"/>
                          </a:solidFill>
                          <a:effectLst/>
                          <a:latin typeface="Times New Roman" panose="02020603050405020304" pitchFamily="18" charset="0"/>
                          <a:ea typeface="+mn-ea"/>
                          <a:cs typeface="Times New Roman" panose="02020603050405020304" pitchFamily="18" charset="0"/>
                        </a:rPr>
                        <a:t> nuôi trồng, khai thác thủy sản gắn với các biện pháp bảo vệ, phát triển nguồn lợi thủy sản</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được tăng cườ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8" name="Picture 4" descr="Trồng ớt chỉ thiên, trái ra tua tủa, nông dân Bình Định khá giả trả được  vốn vay ngân hàng | Ngân hàng Chính sách xã hội">
            <a:extLst>
              <a:ext uri="{FF2B5EF4-FFF2-40B4-BE49-F238E27FC236}">
                <a16:creationId xmlns:a16="http://schemas.microsoft.com/office/drawing/2014/main" id="{6BE3EB7E-E3A6-4F75-82A7-DD72F38044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03471" y="1204535"/>
            <a:ext cx="5025004" cy="293106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a:extLst>
              <a:ext uri="{FF2B5EF4-FFF2-40B4-BE49-F238E27FC236}">
                <a16:creationId xmlns:a16="http://schemas.microsoft.com/office/drawing/2014/main" id="{10020C62-DCED-F22A-3371-D9E940142385}"/>
              </a:ext>
            </a:extLst>
          </p:cNvPr>
          <p:cNvGraphicFramePr>
            <a:graphicFrameLocks noChangeAspect="1"/>
          </p:cNvGraphicFramePr>
          <p:nvPr>
            <p:extLst>
              <p:ext uri="{D42A27DB-BD31-4B8C-83A1-F6EECF244321}">
                <p14:modId xmlns:p14="http://schemas.microsoft.com/office/powerpoint/2010/main" val="4054738746"/>
              </p:ext>
            </p:extLst>
          </p:nvPr>
        </p:nvGraphicFramePr>
        <p:xfrm>
          <a:off x="521698" y="1605759"/>
          <a:ext cx="6015406" cy="2529840"/>
        </p:xfrm>
        <a:graphic>
          <a:graphicData uri="http://schemas.openxmlformats.org/presentationml/2006/ole">
            <mc:AlternateContent xmlns:mc="http://schemas.openxmlformats.org/markup-compatibility/2006">
              <mc:Choice xmlns:v="urn:schemas-microsoft-com:vml" Requires="v">
                <p:oleObj name="Worksheet" r:id="rId3" imgW="3828960" imgH="1324002" progId="Excel.Sheet.8">
                  <p:embed/>
                </p:oleObj>
              </mc:Choice>
              <mc:Fallback>
                <p:oleObj name="Worksheet" r:id="rId3" imgW="3828960" imgH="1324002" progId="Excel.Sheet.8">
                  <p:embed/>
                  <p:pic>
                    <p:nvPicPr>
                      <p:cNvPr id="4" name="Object 3">
                        <a:extLst>
                          <a:ext uri="{FF2B5EF4-FFF2-40B4-BE49-F238E27FC236}">
                            <a16:creationId xmlns:a16="http://schemas.microsoft.com/office/drawing/2014/main" id="{10020C62-DCED-F22A-3371-D9E940142385}"/>
                          </a:ext>
                        </a:extLst>
                      </p:cNvPr>
                      <p:cNvPicPr/>
                      <p:nvPr/>
                    </p:nvPicPr>
                    <p:blipFill>
                      <a:blip r:embed="rId4"/>
                      <a:stretch>
                        <a:fillRect/>
                      </a:stretch>
                    </p:blipFill>
                    <p:spPr>
                      <a:xfrm>
                        <a:off x="521698" y="1605759"/>
                        <a:ext cx="6015406" cy="2529840"/>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AC5B4F37-4AA8-473F-AAED-FA4A86EF1B4F}"/>
              </a:ext>
            </a:extLst>
          </p:cNvPr>
          <p:cNvSpPr txBox="1"/>
          <p:nvPr/>
        </p:nvSpPr>
        <p:spPr>
          <a:xfrm>
            <a:off x="521698" y="156361"/>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36393314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329075" y="1286090"/>
            <a:ext cx="11621567" cy="5786199"/>
          </a:xfrm>
          <a:prstGeom prst="rect">
            <a:avLst/>
          </a:prstGeom>
          <a:noFill/>
        </p:spPr>
        <p:txBody>
          <a:bodyPr wrap="square">
            <a:spAutoFit/>
          </a:bodyPr>
          <a:lstStyle/>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nl-NL" sz="2000">
                <a:effectLst/>
                <a:latin typeface="Times New Roman" panose="02020603050405020304" pitchFamily="18" charset="0"/>
                <a:ea typeface="Calibri" panose="020F0502020204030204" pitchFamily="34" charset="0"/>
                <a:cs typeface="Times New Roman" panose="02020603050405020304" pitchFamily="18" charset="0"/>
              </a:rPr>
              <a:t>Để </a:t>
            </a:r>
            <a:r>
              <a:rPr lang="nl-NL" sz="2000" dirty="0">
                <a:effectLst/>
                <a:latin typeface="Times New Roman" panose="02020603050405020304" pitchFamily="18" charset="0"/>
                <a:ea typeface="Calibri" panose="020F0502020204030204" pitchFamily="34" charset="0"/>
                <a:cs typeface="Times New Roman" panose="02020603050405020304" pitchFamily="18" charset="0"/>
              </a:rPr>
              <a:t>thực hiện thắng lợi mục tiêu, nhiệm vụ kế hoạch phát triển kinh tế - xã hội </a:t>
            </a:r>
            <a:r>
              <a:rPr lang="nl-NL" sz="2000">
                <a:effectLst/>
                <a:latin typeface="Times New Roman" panose="02020603050405020304" pitchFamily="18" charset="0"/>
                <a:ea typeface="Calibri" panose="020F0502020204030204" pitchFamily="34" charset="0"/>
                <a:cs typeface="Times New Roman" panose="02020603050405020304" pitchFamily="18" charset="0"/>
              </a:rPr>
              <a:t>năm 2023</a:t>
            </a:r>
            <a:r>
              <a:rPr lang="vi-VN" sz="2000">
                <a:effectLst/>
                <a:latin typeface="Times New Roman" panose="02020603050405020304" pitchFamily="18" charset="0"/>
                <a:ea typeface="Calibri" panose="020F0502020204030204" pitchFamily="34" charset="0"/>
                <a:cs typeface="Times New Roman" panose="02020603050405020304" pitchFamily="18" charset="0"/>
              </a:rPr>
              <a:t>, UBND </a:t>
            </a:r>
            <a:r>
              <a:rPr lang="nl-NL" sz="2000">
                <a:effectLst/>
                <a:latin typeface="Times New Roman" panose="02020603050405020304" pitchFamily="18" charset="0"/>
                <a:ea typeface="Calibri" panose="020F0502020204030204" pitchFamily="34" charset="0"/>
                <a:cs typeface="Times New Roman" panose="02020603050405020304" pitchFamily="18" charset="0"/>
              </a:rPr>
              <a:t>tỉnh </a:t>
            </a:r>
            <a:r>
              <a:rPr lang="vi-VN" sz="2000">
                <a:effectLst/>
                <a:latin typeface="Times New Roman" panose="02020603050405020304" pitchFamily="18" charset="0"/>
                <a:ea typeface="Calibri" panose="020F0502020204030204" pitchFamily="34" charset="0"/>
                <a:cs typeface="Times New Roman" panose="02020603050405020304" pitchFamily="18" charset="0"/>
              </a:rPr>
              <a:t>đã ban hành Quyết định số 19/QĐ-UBND ngày 04/01/2023 và văn bản số 20/UBND-TH ngày 03/01/2023 giao chỉ tiêu và nhiệm vụ cụ thể đến các sở, ngành</a:t>
            </a:r>
            <a:r>
              <a:rPr lang="en-US" sz="2000">
                <a:effectLst/>
                <a:latin typeface="Times New Roman" panose="02020603050405020304" pitchFamily="18" charset="0"/>
                <a:ea typeface="Calibri" panose="020F0502020204030204" pitchFamily="34" charset="0"/>
                <a:cs typeface="Times New Roman" panose="02020603050405020304" pitchFamily="18" charset="0"/>
              </a:rPr>
              <a:t>, địa phương</a:t>
            </a:r>
            <a:r>
              <a:rPr lang="en-US" sz="2000">
                <a:latin typeface="Times New Roman" panose="02020603050405020304" pitchFamily="18" charset="0"/>
                <a:ea typeface="Calibri" panose="020F0502020204030204" pitchFamily="34" charset="0"/>
                <a:cs typeface="Times New Roman" panose="02020603050405020304" pitchFamily="18" charset="0"/>
              </a:rPr>
              <a:t>; </a:t>
            </a:r>
            <a:r>
              <a:rPr lang="nl-NL" sz="2000">
                <a:effectLst/>
                <a:latin typeface="Times New Roman" panose="02020603050405020304" pitchFamily="18" charset="0"/>
                <a:ea typeface="Calibri" panose="020F0502020204030204" pitchFamily="34" charset="0"/>
                <a:cs typeface="Times New Roman" panose="02020603050405020304" pitchFamily="18" charset="0"/>
              </a:rPr>
              <a:t>chỉ </a:t>
            </a:r>
            <a:r>
              <a:rPr lang="nl-NL" sz="2000" dirty="0">
                <a:effectLst/>
                <a:latin typeface="Times New Roman" panose="02020603050405020304" pitchFamily="18" charset="0"/>
                <a:ea typeface="Calibri" panose="020F0502020204030204" pitchFamily="34" charset="0"/>
                <a:cs typeface="Times New Roman" panose="02020603050405020304" pitchFamily="18" charset="0"/>
              </a:rPr>
              <a:t>đạo các cấp, </a:t>
            </a:r>
            <a:r>
              <a:rPr lang="nl-NL" sz="2000">
                <a:effectLst/>
                <a:latin typeface="Times New Roman" panose="02020603050405020304" pitchFamily="18" charset="0"/>
                <a:ea typeface="Calibri" panose="020F0502020204030204" pitchFamily="34" charset="0"/>
                <a:cs typeface="Times New Roman" panose="02020603050405020304" pitchFamily="18" charset="0"/>
              </a:rPr>
              <a:t>các ngành</a:t>
            </a:r>
            <a:r>
              <a:rPr lang="vi-VN" sz="2000">
                <a:effectLst/>
                <a:latin typeface="Times New Roman" panose="02020603050405020304" pitchFamily="18" charset="0"/>
                <a:ea typeface="Calibri" panose="020F0502020204030204" pitchFamily="34" charset="0"/>
                <a:cs typeface="Times New Roman" panose="02020603050405020304" pitchFamily="18" charset="0"/>
              </a:rPr>
              <a:t> và các địa phương</a:t>
            </a:r>
            <a:r>
              <a:rPr lang="nl-NL" sz="2000">
                <a:effectLst/>
                <a:latin typeface="Times New Roman" panose="02020603050405020304" pitchFamily="18" charset="0"/>
                <a:ea typeface="Calibri" panose="020F0502020204030204" pitchFamily="34" charset="0"/>
                <a:cs typeface="Times New Roman" panose="02020603050405020304" pitchFamily="18" charset="0"/>
              </a:rPr>
              <a:t> quyết </a:t>
            </a:r>
            <a:r>
              <a:rPr lang="nl-NL" sz="2000" dirty="0">
                <a:effectLst/>
                <a:latin typeface="Times New Roman" panose="02020603050405020304" pitchFamily="18" charset="0"/>
                <a:ea typeface="Calibri" panose="020F0502020204030204" pitchFamily="34" charset="0"/>
                <a:cs typeface="Times New Roman" panose="02020603050405020304" pitchFamily="18" charset="0"/>
              </a:rPr>
              <a:t>tâm</a:t>
            </a:r>
            <a:r>
              <a:rPr lang="nl-NL" sz="2000">
                <a:effectLst/>
                <a:latin typeface="Times New Roman" panose="02020603050405020304" pitchFamily="18" charset="0"/>
                <a:ea typeface="Calibri" panose="020F0502020204030204" pitchFamily="34" charset="0"/>
                <a:cs typeface="Times New Roman" panose="02020603050405020304" pitchFamily="18" charset="0"/>
              </a:rPr>
              <a:t>, chủ </a:t>
            </a:r>
            <a:r>
              <a:rPr lang="nl-NL" sz="2000" dirty="0">
                <a:effectLst/>
                <a:latin typeface="Times New Roman" panose="02020603050405020304" pitchFamily="18" charset="0"/>
                <a:ea typeface="Calibri" panose="020F0502020204030204" pitchFamily="34" charset="0"/>
                <a:cs typeface="Times New Roman" panose="02020603050405020304" pitchFamily="18" charset="0"/>
              </a:rPr>
              <a:t>động thích ứng, linh hoạt, hành động quyết liệt, khoa học</a:t>
            </a:r>
            <a:r>
              <a:rPr lang="nl-NL" sz="2000">
                <a:effectLst/>
                <a:latin typeface="Times New Roman" panose="02020603050405020304" pitchFamily="18" charset="0"/>
                <a:ea typeface="Calibri" panose="020F0502020204030204" pitchFamily="34" charset="0"/>
                <a:cs typeface="Times New Roman" panose="02020603050405020304" pitchFamily="18" charset="0"/>
              </a:rPr>
              <a:t>, tích </a:t>
            </a:r>
            <a:r>
              <a:rPr lang="nl-NL" sz="2000" dirty="0">
                <a:effectLst/>
                <a:latin typeface="Times New Roman" panose="02020603050405020304" pitchFamily="18" charset="0"/>
                <a:ea typeface="Calibri" panose="020F0502020204030204" pitchFamily="34" charset="0"/>
                <a:cs typeface="Times New Roman" panose="02020603050405020304" pitchFamily="18" charset="0"/>
              </a:rPr>
              <a:t>cực đổi mới, sáng tạo theo tinh </a:t>
            </a:r>
            <a:r>
              <a:rPr lang="nl-NL" sz="2000">
                <a:effectLst/>
                <a:latin typeface="Times New Roman" panose="02020603050405020304" pitchFamily="18" charset="0"/>
                <a:ea typeface="Calibri" panose="020F0502020204030204" pitchFamily="34" charset="0"/>
                <a:cs typeface="Times New Roman" panose="02020603050405020304" pitchFamily="18" charset="0"/>
              </a:rPr>
              <a:t>thần </a:t>
            </a:r>
            <a:r>
              <a:rPr lang="nl-NL" sz="2000" b="1" i="1">
                <a:effectLst/>
                <a:latin typeface="Times New Roman" panose="02020603050405020304" pitchFamily="18" charset="0"/>
                <a:ea typeface="Calibri" panose="020F0502020204030204" pitchFamily="34" charset="0"/>
                <a:cs typeface="Times New Roman" panose="02020603050405020304" pitchFamily="18" charset="0"/>
              </a:rPr>
              <a:t>“</a:t>
            </a:r>
            <a:r>
              <a:rPr lang="nl-NL" sz="2000" b="1" i="1" dirty="0">
                <a:effectLst/>
                <a:latin typeface="Times New Roman" panose="02020603050405020304" pitchFamily="18" charset="0"/>
                <a:ea typeface="Calibri" panose="020F0502020204030204" pitchFamily="34" charset="0"/>
                <a:cs typeface="Times New Roman" panose="02020603050405020304" pitchFamily="18" charset="0"/>
              </a:rPr>
              <a:t>Đoàn kết kỷ cương, bản lĩnh linh hoạt, đổi mới sáng tạo, kịp thời </a:t>
            </a:r>
            <a:r>
              <a:rPr lang="nl-NL" sz="2000" b="1" i="1">
                <a:effectLst/>
                <a:latin typeface="Times New Roman" panose="02020603050405020304" pitchFamily="18" charset="0"/>
                <a:ea typeface="Calibri" panose="020F0502020204030204" pitchFamily="34" charset="0"/>
                <a:cs typeface="Times New Roman" panose="02020603050405020304" pitchFamily="18" charset="0"/>
              </a:rPr>
              <a:t>hiệu quả”</a:t>
            </a:r>
          </a:p>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solidFill>
                  <a:schemeClr val="dk1"/>
                </a:solidFill>
                <a:latin typeface="Times New Roman" panose="02020603050405020304" pitchFamily="18" charset="0"/>
                <a:cs typeface="Times New Roman" panose="02020603050405020304" pitchFamily="18" charset="0"/>
              </a:rPr>
              <a:t>Các huyện, thị xã, thành phố đã cơ bản thực hiện theo đúng chỉ đạo của UBND tỉnh tại văn bản số 20/UBND-TH ngày 03/01/2023 về việc giao chỉ tiêu đến các phòng, ban trực thuộc và UBND cấp xã. </a:t>
            </a:r>
            <a:r>
              <a:rPr lang="vi-VN" sz="2000">
                <a:solidFill>
                  <a:schemeClr val="dk1"/>
                </a:solidFill>
                <a:latin typeface="Times New Roman" panose="02020603050405020304" pitchFamily="18" charset="0"/>
                <a:cs typeface="Times New Roman" panose="02020603050405020304" pitchFamily="18" charset="0"/>
              </a:rPr>
              <a:t>UBND tỉnh đã thành lập Tổ công tác liên ngành hỗ trợ các địa phương hoàn thành chỉ tiêu, kế hoạch phát triển KT-XH năm 2023. Tổ công tác liên ngành đã làm việc với UBND các huyện, thị xã, thành phố trong thời gian từ ngày 8-15/5/2023 và báo cáo UBND tỉnh theo dõi, chỉ đạo</a:t>
            </a:r>
            <a:endParaRPr lang="en-US" sz="2000">
              <a:solidFill>
                <a:schemeClr val="dk1"/>
              </a:solidFill>
              <a:latin typeface="Times New Roman" panose="02020603050405020304" pitchFamily="18" charset="0"/>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vi-VN" sz="2000">
                <a:solidFill>
                  <a:schemeClr val="dk1"/>
                </a:solidFill>
                <a:latin typeface="Times New Roman" panose="02020603050405020304" pitchFamily="18" charset="0"/>
                <a:cs typeface="Times New Roman" panose="02020603050405020304" pitchFamily="18" charset="0"/>
              </a:rPr>
              <a:t>Đối với việc nhập số liệu lên Hệ thống của tỉnh: Hiện nay việc nhập số liệu thực hiện trên Hệ thống do Cục Thống kê quản lý (kể từ giữa tháng 5/2023). Số liệu ước tính tháng </a:t>
            </a:r>
            <a:r>
              <a:rPr lang="en-US" sz="2000">
                <a:solidFill>
                  <a:schemeClr val="dk1"/>
                </a:solidFill>
                <a:latin typeface="Times New Roman" panose="02020603050405020304" pitchFamily="18" charset="0"/>
                <a:cs typeface="Times New Roman" panose="02020603050405020304" pitchFamily="18" charset="0"/>
              </a:rPr>
              <a:t>6 tháng năm 2</a:t>
            </a:r>
            <a:r>
              <a:rPr lang="vi-VN" sz="2000">
                <a:solidFill>
                  <a:schemeClr val="dk1"/>
                </a:solidFill>
                <a:latin typeface="Times New Roman" panose="02020603050405020304" pitchFamily="18" charset="0"/>
                <a:cs typeface="Times New Roman" panose="02020603050405020304" pitchFamily="18" charset="0"/>
              </a:rPr>
              <a:t>023 đối với cấp huyện</a:t>
            </a:r>
            <a:r>
              <a:rPr lang="en-US" sz="2000">
                <a:solidFill>
                  <a:schemeClr val="dk1"/>
                </a:solidFill>
                <a:latin typeface="Times New Roman" panose="02020603050405020304" pitchFamily="18" charset="0"/>
                <a:cs typeface="Times New Roman" panose="02020603050405020304" pitchFamily="18" charset="0"/>
              </a:rPr>
              <a:t>,</a:t>
            </a:r>
            <a:r>
              <a:rPr lang="vi-VN" sz="2000">
                <a:solidFill>
                  <a:schemeClr val="dk1"/>
                </a:solidFill>
                <a:latin typeface="Times New Roman" panose="02020603050405020304" pitchFamily="18" charset="0"/>
                <a:cs typeface="Times New Roman" panose="02020603050405020304" pitchFamily="18" charset="0"/>
              </a:rPr>
              <a:t> Cục Thống kê cung cấp được</a:t>
            </a:r>
            <a:r>
              <a:rPr lang="en-US" sz="2000">
                <a:solidFill>
                  <a:schemeClr val="dk1"/>
                </a:solidFill>
                <a:latin typeface="Times New Roman" panose="02020603050405020304" pitchFamily="18" charset="0"/>
                <a:cs typeface="Times New Roman" panose="02020603050405020304" pitchFamily="18" charset="0"/>
              </a:rPr>
              <a:t> các chỉ tiêu:</a:t>
            </a:r>
            <a:r>
              <a:rPr lang="vi-VN" sz="2000">
                <a:solidFill>
                  <a:schemeClr val="dk1"/>
                </a:solidFill>
                <a:latin typeface="Times New Roman" panose="02020603050405020304" pitchFamily="18" charset="0"/>
                <a:cs typeface="Times New Roman" panose="02020603050405020304" pitchFamily="18" charset="0"/>
              </a:rPr>
              <a:t> Tổng giá trị sản phẩm, </a:t>
            </a:r>
            <a:r>
              <a:rPr lang="en-US" sz="2000">
                <a:solidFill>
                  <a:schemeClr val="dk1"/>
                </a:solidFill>
                <a:latin typeface="Times New Roman" panose="02020603050405020304" pitchFamily="18" charset="0"/>
                <a:cs typeface="Times New Roman" panose="02020603050405020304" pitchFamily="18" charset="0"/>
              </a:rPr>
              <a:t>D</a:t>
            </a:r>
            <a:r>
              <a:rPr lang="vi-VN" sz="2000">
                <a:solidFill>
                  <a:schemeClr val="dk1"/>
                </a:solidFill>
                <a:latin typeface="Times New Roman" panose="02020603050405020304" pitchFamily="18" charset="0"/>
                <a:cs typeface="Times New Roman" panose="02020603050405020304" pitchFamily="18" charset="0"/>
              </a:rPr>
              <a:t>oanh thu bán lẻ hàng hóa và dịch vụ, </a:t>
            </a:r>
            <a:r>
              <a:rPr lang="en-US" sz="2000">
                <a:solidFill>
                  <a:schemeClr val="dk1"/>
                </a:solidFill>
                <a:latin typeface="Times New Roman" panose="02020603050405020304" pitchFamily="18" charset="0"/>
                <a:cs typeface="Times New Roman" panose="02020603050405020304" pitchFamily="18" charset="0"/>
              </a:rPr>
              <a:t>X</a:t>
            </a:r>
            <a:r>
              <a:rPr lang="vi-VN" sz="2000">
                <a:solidFill>
                  <a:schemeClr val="dk1"/>
                </a:solidFill>
                <a:latin typeface="Times New Roman" panose="02020603050405020304" pitchFamily="18" charset="0"/>
                <a:cs typeface="Times New Roman" panose="02020603050405020304" pitchFamily="18" charset="0"/>
              </a:rPr>
              <a:t>uất nhập khẩu, Số lượng đầu con của lĩnh vực chăn nuôi</a:t>
            </a:r>
            <a:r>
              <a:rPr lang="en-US" sz="2000">
                <a:solidFill>
                  <a:schemeClr val="dk1"/>
                </a:solidFill>
                <a:latin typeface="Times New Roman" panose="02020603050405020304" pitchFamily="18" charset="0"/>
                <a:cs typeface="Times New Roman" panose="02020603050405020304" pitchFamily="18" charset="0"/>
              </a:rPr>
              <a:t>;</a:t>
            </a:r>
            <a:r>
              <a:rPr lang="vi-VN" sz="2000">
                <a:solidFill>
                  <a:schemeClr val="dk1"/>
                </a:solidFill>
                <a:latin typeface="Times New Roman" panose="02020603050405020304" pitchFamily="18" charset="0"/>
                <a:cs typeface="Times New Roman" panose="02020603050405020304" pitchFamily="18" charset="0"/>
              </a:rPr>
              <a:t> </a:t>
            </a:r>
            <a:r>
              <a:rPr lang="en-US" sz="2000">
                <a:solidFill>
                  <a:schemeClr val="dk1"/>
                </a:solidFill>
                <a:latin typeface="Times New Roman" panose="02020603050405020304" pitchFamily="18" charset="0"/>
                <a:cs typeface="Times New Roman" panose="02020603050405020304" pitchFamily="18" charset="0"/>
              </a:rPr>
              <a:t>c</a:t>
            </a:r>
            <a:r>
              <a:rPr lang="vi-VN" sz="2000">
                <a:solidFill>
                  <a:schemeClr val="dk1"/>
                </a:solidFill>
                <a:latin typeface="Times New Roman" panose="02020603050405020304" pitchFamily="18" charset="0"/>
                <a:cs typeface="Times New Roman" panose="02020603050405020304" pitchFamily="18" charset="0"/>
              </a:rPr>
              <a:t>ác chỉ tiêu còn lại </a:t>
            </a:r>
            <a:r>
              <a:rPr lang="en-US" sz="2000">
                <a:solidFill>
                  <a:schemeClr val="dk1"/>
                </a:solidFill>
                <a:latin typeface="Times New Roman" panose="02020603050405020304" pitchFamily="18" charset="0"/>
                <a:cs typeface="Times New Roman" panose="02020603050405020304" pitchFamily="18" charset="0"/>
              </a:rPr>
              <a:t>Cục Thống kê tỉnh </a:t>
            </a:r>
            <a:r>
              <a:rPr lang="vi-VN" sz="2000">
                <a:solidFill>
                  <a:schemeClr val="dk1"/>
                </a:solidFill>
                <a:latin typeface="Times New Roman" panose="02020603050405020304" pitchFamily="18" charset="0"/>
                <a:cs typeface="Times New Roman" panose="02020603050405020304" pitchFamily="18" charset="0"/>
              </a:rPr>
              <a:t>chưa cung cấp</a:t>
            </a:r>
            <a:r>
              <a:rPr lang="en-US" sz="2000">
                <a:solidFill>
                  <a:schemeClr val="dk1"/>
                </a:solidFill>
                <a:latin typeface="Times New Roman" panose="02020603050405020304" pitchFamily="18" charset="0"/>
                <a:cs typeface="Times New Roman" panose="02020603050405020304" pitchFamily="18" charset="0"/>
              </a:rPr>
              <a:t> được</a:t>
            </a:r>
            <a:r>
              <a:rPr lang="vi-VN" sz="2000">
                <a:solidFill>
                  <a:schemeClr val="dk1"/>
                </a:solidFill>
                <a:latin typeface="Times New Roman" panose="02020603050405020304" pitchFamily="18" charset="0"/>
                <a:cs typeface="Times New Roman" panose="02020603050405020304" pitchFamily="18" charset="0"/>
              </a:rPr>
              <a:t>, </a:t>
            </a:r>
            <a:r>
              <a:rPr lang="en-US" sz="2000">
                <a:solidFill>
                  <a:schemeClr val="dk1"/>
                </a:solidFill>
                <a:latin typeface="Times New Roman" panose="02020603050405020304" pitchFamily="18" charset="0"/>
                <a:cs typeface="Times New Roman" panose="02020603050405020304" pitchFamily="18" charset="0"/>
              </a:rPr>
              <a:t>nhất</a:t>
            </a:r>
            <a:r>
              <a:rPr lang="vi-VN" sz="2000">
                <a:solidFill>
                  <a:schemeClr val="dk1"/>
                </a:solidFill>
                <a:latin typeface="Times New Roman" panose="02020603050405020304" pitchFamily="18" charset="0"/>
                <a:cs typeface="Times New Roman" panose="02020603050405020304" pitchFamily="18" charset="0"/>
              </a:rPr>
              <a:t> là các chỉ tiêu </a:t>
            </a:r>
            <a:r>
              <a:rPr lang="en-US" sz="2000">
                <a:solidFill>
                  <a:schemeClr val="dk1"/>
                </a:solidFill>
                <a:latin typeface="Times New Roman" panose="02020603050405020304" pitchFamily="18" charset="0"/>
                <a:cs typeface="Times New Roman" panose="02020603050405020304" pitchFamily="18" charset="0"/>
              </a:rPr>
              <a:t>trong </a:t>
            </a:r>
            <a:r>
              <a:rPr lang="vi-VN" sz="2000">
                <a:solidFill>
                  <a:schemeClr val="dk1"/>
                </a:solidFill>
                <a:latin typeface="Times New Roman" panose="02020603050405020304" pitchFamily="18" charset="0"/>
                <a:cs typeface="Times New Roman" panose="02020603050405020304" pitchFamily="18" charset="0"/>
              </a:rPr>
              <a:t>lĩnh vực Văn hóa – xã hội.</a:t>
            </a:r>
            <a:br>
              <a:rPr lang="vi-VN" sz="2000">
                <a:solidFill>
                  <a:schemeClr val="dk1"/>
                </a:solidFill>
                <a:latin typeface="Times New Roman" panose="02020603050405020304" pitchFamily="18" charset="0"/>
                <a:cs typeface="Times New Roman" panose="02020603050405020304" pitchFamily="18" charset="0"/>
              </a:rPr>
            </a:br>
            <a:endParaRPr lang="nl-NL" sz="2000">
              <a:solidFill>
                <a:schemeClr val="dk1"/>
              </a:solidFill>
              <a:latin typeface="Times New Roman" panose="02020603050405020304" pitchFamily="18" charset="0"/>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endParaRPr lang="it-IT" sz="2000" spc="-2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3" name="TextBox 2">
            <a:extLst>
              <a:ext uri="{FF2B5EF4-FFF2-40B4-BE49-F238E27FC236}">
                <a16:creationId xmlns:a16="http://schemas.microsoft.com/office/drawing/2014/main" id="{FC30F92D-3C47-CF58-6C37-0DBB6FF2F2DF}"/>
              </a:ext>
            </a:extLst>
          </p:cNvPr>
          <p:cNvSpPr txBox="1"/>
          <p:nvPr/>
        </p:nvSpPr>
        <p:spPr>
          <a:xfrm>
            <a:off x="434551" y="186528"/>
            <a:ext cx="11516091" cy="830997"/>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 VIỆC TRIỂN KHAI THỰC HIỆN QUYẾT ĐỊNH SỐ 19/QĐ-UBND VÀ VĂN BẢN SỐ 20/UBND-TH CỦA UBND TỈNH</a:t>
            </a:r>
          </a:p>
        </p:txBody>
      </p:sp>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43393" y="180759"/>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995106638"/>
              </p:ext>
            </p:extLst>
          </p:nvPr>
        </p:nvGraphicFramePr>
        <p:xfrm>
          <a:off x="678533" y="1430909"/>
          <a:ext cx="3270490" cy="4458423"/>
        </p:xfrm>
        <a:graphic>
          <a:graphicData uri="http://schemas.openxmlformats.org/drawingml/2006/table">
            <a:tbl>
              <a:tblPr firstRow="1" bandRow="1"/>
              <a:tblGrid>
                <a:gridCol w="3270490">
                  <a:extLst>
                    <a:ext uri="{9D8B030D-6E8A-4147-A177-3AD203B41FA5}">
                      <a16:colId xmlns:a16="http://schemas.microsoft.com/office/drawing/2014/main" val="3655493598"/>
                    </a:ext>
                  </a:extLst>
                </a:gridCol>
              </a:tblGrid>
              <a:tr h="445842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Tổng diện tích gieo trồng các loại cây hàng năm vụ Đông Xuân 2022-2023 đạt 77.919,9 ha, giảm 0,4% (-335,2 ha) so với vụ Đông Xuân năm trước.</a:t>
                      </a:r>
                      <a:endParaRPr lang="es-E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242576" y="601558"/>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0101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1957165" y="1383168"/>
            <a:ext cx="245695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 </a:t>
            </a:r>
            <a:r>
              <a:rPr lang="en-US" sz="2400" b="1" spc="-20" dirty="0" err="1">
                <a:solidFill>
                  <a:srgbClr val="100717"/>
                </a:solidFill>
                <a:latin typeface="Times New Roman" panose="02020603050405020304" pitchFamily="18" charset="0"/>
                <a:cs typeface="Times New Roman" panose="02020603050405020304" pitchFamily="18" charset="0"/>
              </a:rPr>
              <a:t>Vụ</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Xuâ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3965690730"/>
              </p:ext>
            </p:extLst>
          </p:nvPr>
        </p:nvGraphicFramePr>
        <p:xfrm>
          <a:off x="4984720" y="119063"/>
          <a:ext cx="6597680" cy="6654800"/>
        </p:xfrm>
        <a:graphic>
          <a:graphicData uri="http://schemas.openxmlformats.org/presentationml/2006/ole">
            <mc:AlternateContent xmlns:mc="http://schemas.openxmlformats.org/markup-compatibility/2006">
              <mc:Choice xmlns:v="urn:schemas-microsoft-com:vml" Requires="v">
                <p:oleObj name="Worksheet" r:id="rId2" imgW="6648480" imgH="10077303" progId="Excel.Sheet.8">
                  <p:embed/>
                </p:oleObj>
              </mc:Choice>
              <mc:Fallback>
                <p:oleObj name="Worksheet" r:id="rId2" imgW="6648480" imgH="10077303" progId="Excel.Sheet.8">
                  <p:embed/>
                  <p:pic>
                    <p:nvPicPr>
                      <p:cNvPr id="2" name="Object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4720" y="119063"/>
                        <a:ext cx="6597680" cy="6654800"/>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316950" y="625616"/>
            <a:ext cx="1978170"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 </a:t>
            </a:r>
            <a:r>
              <a:rPr lang="en-US" sz="2400" b="1" spc="-20" dirty="0" err="1">
                <a:solidFill>
                  <a:srgbClr val="100717"/>
                </a:solidFill>
                <a:latin typeface="Times New Roman" panose="02020603050405020304" pitchFamily="18" charset="0"/>
                <a:cs typeface="Times New Roman" panose="02020603050405020304" pitchFamily="18" charset="0"/>
              </a:rPr>
              <a:t>Vụ</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Hè</a:t>
            </a:r>
            <a:r>
              <a:rPr lang="en-US" sz="2400" b="1" spc="-20" dirty="0">
                <a:solidFill>
                  <a:srgbClr val="100717"/>
                </a:solidFill>
                <a:latin typeface="Times New Roman" panose="02020603050405020304" pitchFamily="18" charset="0"/>
                <a:cs typeface="Times New Roman" panose="02020603050405020304" pitchFamily="18" charset="0"/>
              </a:rPr>
              <a:t> Thu</a:t>
            </a:r>
          </a:p>
        </p:txBody>
      </p:sp>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859530221"/>
              </p:ext>
            </p:extLst>
          </p:nvPr>
        </p:nvGraphicFramePr>
        <p:xfrm>
          <a:off x="604507" y="698740"/>
          <a:ext cx="11244267" cy="5053672"/>
        </p:xfrm>
        <a:graphic>
          <a:graphicData uri="http://schemas.openxmlformats.org/drawingml/2006/table">
            <a:tbl>
              <a:tblPr firstRow="1" bandRow="1"/>
              <a:tblGrid>
                <a:gridCol w="11244267">
                  <a:extLst>
                    <a:ext uri="{9D8B030D-6E8A-4147-A177-3AD203B41FA5}">
                      <a16:colId xmlns:a16="http://schemas.microsoft.com/office/drawing/2014/main" val="3655493598"/>
                    </a:ext>
                  </a:extLst>
                </a:gridCol>
              </a:tblGrid>
              <a:tr h="505367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Kế hoạch sản xuất </a:t>
                      </a:r>
                      <a:r>
                        <a:rPr lang="az-Latn-AZ" sz="2400" b="0" kern="1200">
                          <a:solidFill>
                            <a:schemeClr val="dk1"/>
                          </a:solidFill>
                          <a:effectLst/>
                          <a:latin typeface="Times New Roman" panose="02020603050405020304" pitchFamily="18" charset="0"/>
                          <a:ea typeface="+mn-ea"/>
                          <a:cs typeface="Times New Roman" panose="02020603050405020304" pitchFamily="18" charset="0"/>
                        </a:rPr>
                        <a:t>42.120 ha lúa (trong đó lúa Hè: 5.550 ha; lúa Thu: 36.570 ha).</a:t>
                      </a: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Đến nay </a:t>
                      </a:r>
                      <a:r>
                        <a:rPr lang="nl-NL" sz="2400" b="0" kern="1200">
                          <a:solidFill>
                            <a:schemeClr val="dk1"/>
                          </a:solidFill>
                          <a:effectLst/>
                          <a:latin typeface="Times New Roman" panose="02020603050405020304" pitchFamily="18" charset="0"/>
                          <a:ea typeface="+mn-ea"/>
                          <a:cs typeface="Times New Roman" panose="02020603050405020304" pitchFamily="18" charset="0"/>
                        </a:rPr>
                        <a:t>đã gieo sạ 40.945 ha (lúa Hè 5.499 ha; lúa Thu 35.446 ha), đạt 97,2% so với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400" b="0" kern="1200">
                          <a:solidFill>
                            <a:schemeClr val="dk1"/>
                          </a:solidFill>
                          <a:effectLst/>
                          <a:latin typeface="Times New Roman" panose="02020603050405020304" pitchFamily="18" charset="0"/>
                          <a:ea typeface="+mn-ea"/>
                          <a:cs typeface="Times New Roman" panose="02020603050405020304" pitchFamily="18" charset="0"/>
                        </a:rPr>
                        <a:t> </a:t>
                      </a:r>
                      <a:r>
                        <a:rPr lang="pt-BR" sz="2400" b="0" kern="1200">
                          <a:solidFill>
                            <a:schemeClr val="dk1"/>
                          </a:solidFill>
                          <a:effectLst/>
                          <a:latin typeface="Times New Roman" panose="02020603050405020304" pitchFamily="18" charset="0"/>
                          <a:ea typeface="+mn-ea"/>
                          <a:cs typeface="Times New Roman" panose="02020603050405020304" pitchFamily="18" charset="0"/>
                        </a:rPr>
                        <a:t>Tiến độ gieo trồng một số cây trồng cạn vụ Hè Thu như sau: cây ngô 2.053 ha, tăng 34,7%; cây lạc 1.159 ha, tăng 19,2%; rau các loại 3.265,8 ha, tăng 33,7%; đậu các loại đạt 152 ha, giảm 62,8%</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9B1EE58E-003F-122B-AAA3-4CD0DC67997A}"/>
              </a:ext>
            </a:extLst>
          </p:cNvPr>
          <p:cNvSpPr/>
          <p:nvPr/>
        </p:nvSpPr>
        <p:spPr>
          <a:xfrm>
            <a:off x="905890" y="23707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09716554"/>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c) </a:t>
            </a:r>
            <a:r>
              <a:rPr lang="en-US" sz="2400" b="1" spc="-20" dirty="0" err="1">
                <a:solidFill>
                  <a:srgbClr val="100717"/>
                </a:solidFill>
                <a:latin typeface="Times New Roman" panose="02020603050405020304" pitchFamily="18" charset="0"/>
                <a:cs typeface="Times New Roman" panose="02020603050405020304" pitchFamily="18" charset="0"/>
              </a:rPr>
              <a:t>Chuyể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ổ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ơ</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ây</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ồng</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452047599"/>
              </p:ext>
            </p:extLst>
          </p:nvPr>
        </p:nvGraphicFramePr>
        <p:xfrm>
          <a:off x="612081" y="1647769"/>
          <a:ext cx="11233174" cy="402200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y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292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u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1.504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è</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Thu 1.324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a:t>
                      </a:r>
                      <a:r>
                        <a:rPr lang="en-US" sz="2400" b="0" kern="1200">
                          <a:solidFill>
                            <a:schemeClr val="dk1"/>
                          </a:solidFill>
                          <a:effectLst/>
                          <a:latin typeface="Times New Roman" panose="02020603050405020304" pitchFamily="18" charset="0"/>
                          <a:ea typeface="+mn-ea"/>
                          <a:cs typeface="Times New Roman" panose="02020603050405020304" pitchFamily="18" charset="0"/>
                        </a:rPr>
                        <a:t>), đạt, 107% kế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a:solidFill>
                            <a:schemeClr val="dk1"/>
                          </a:solidFill>
                          <a:effectLst/>
                          <a:latin typeface="Times New Roman" panose="02020603050405020304" pitchFamily="18" charset="0"/>
                          <a:ea typeface="+mn-ea"/>
                          <a:cs typeface="Times New Roman" panose="02020603050405020304" pitchFamily="18" charset="0"/>
                        </a:rPr>
                        <a:t> năm, tăng 36,8% so với cùng kỳ</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y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lúa</a:t>
                      </a:r>
                      <a:r>
                        <a:rPr lang="en-US" sz="2400" b="0" kern="1200">
                          <a:solidFill>
                            <a:schemeClr val="dk1"/>
                          </a:solidFill>
                          <a:effectLst/>
                          <a:latin typeface="Times New Roman" panose="02020603050405020304" pitchFamily="18" charset="0"/>
                          <a:ea typeface="+mn-ea"/>
                          <a:cs typeface="Times New Roman" panose="02020603050405020304" pitchFamily="18" charset="0"/>
                        </a:rPr>
                        <a:t> 2.095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120,7%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30,7% so với cùng kỳ</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y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sắn</a:t>
                      </a:r>
                      <a:r>
                        <a:rPr lang="en-US" sz="2400" b="0" kern="1200">
                          <a:solidFill>
                            <a:schemeClr val="dk1"/>
                          </a:solidFill>
                          <a:effectLst/>
                          <a:latin typeface="Times New Roman" panose="02020603050405020304" pitchFamily="18" charset="0"/>
                          <a:ea typeface="+mn-ea"/>
                          <a:cs typeface="Times New Roman" panose="02020603050405020304" pitchFamily="18" charset="0"/>
                        </a:rPr>
                        <a:t> 679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88,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46%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dk1"/>
                          </a:solidFill>
                          <a:effectLst/>
                          <a:latin typeface="Times New Roman" panose="02020603050405020304" pitchFamily="18" charset="0"/>
                          <a:ea typeface="+mn-ea"/>
                          <a:cs typeface="Times New Roman" panose="02020603050405020304" pitchFamily="18" charset="0"/>
                        </a:rPr>
                        <a:t>C</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uy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ổ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í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55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8,7%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6465244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2. </a:t>
            </a:r>
            <a:r>
              <a:rPr lang="en-US" sz="2800" b="1" spc="-20" dirty="0" err="1">
                <a:solidFill>
                  <a:srgbClr val="100717"/>
                </a:solidFill>
                <a:latin typeface="Times New Roman" panose="02020603050405020304" pitchFamily="18" charset="0"/>
                <a:cs typeface="Times New Roman" panose="02020603050405020304" pitchFamily="18" charset="0"/>
              </a:rPr>
              <a:t>Chă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uô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Object 4">
            <a:extLst>
              <a:ext uri="{FF2B5EF4-FFF2-40B4-BE49-F238E27FC236}">
                <a16:creationId xmlns:a16="http://schemas.microsoft.com/office/drawing/2014/main" id="{4F59E573-56EE-83D4-0602-CC0366BF17C8}"/>
              </a:ext>
            </a:extLst>
          </p:cNvPr>
          <p:cNvGraphicFramePr>
            <a:graphicFrameLocks noChangeAspect="1"/>
          </p:cNvGraphicFramePr>
          <p:nvPr>
            <p:extLst>
              <p:ext uri="{D42A27DB-BD31-4B8C-83A1-F6EECF244321}">
                <p14:modId xmlns:p14="http://schemas.microsoft.com/office/powerpoint/2010/main" val="1765793531"/>
              </p:ext>
            </p:extLst>
          </p:nvPr>
        </p:nvGraphicFramePr>
        <p:xfrm>
          <a:off x="4437776" y="594614"/>
          <a:ext cx="7684316" cy="6023650"/>
        </p:xfrm>
        <a:graphic>
          <a:graphicData uri="http://schemas.openxmlformats.org/presentationml/2006/ole">
            <mc:AlternateContent xmlns:mc="http://schemas.openxmlformats.org/markup-compatibility/2006">
              <mc:Choice xmlns:v="urn:schemas-microsoft-com:vml" Requires="v">
                <p:oleObj name="Worksheet" r:id="rId2" imgW="8315280" imgH="5819708" progId="Excel.Sheet.8">
                  <p:embed/>
                </p:oleObj>
              </mc:Choice>
              <mc:Fallback>
                <p:oleObj name="Worksheet" r:id="rId2" imgW="8315280" imgH="5819708" progId="Excel.Sheet.8">
                  <p:embed/>
                  <p:pic>
                    <p:nvPicPr>
                      <p:cNvPr id="5" name="Object 4">
                        <a:extLst>
                          <a:ext uri="{FF2B5EF4-FFF2-40B4-BE49-F238E27FC236}">
                            <a16:creationId xmlns:a16="http://schemas.microsoft.com/office/drawing/2014/main" id="{4F59E573-56EE-83D4-0602-CC0366BF17C8}"/>
                          </a:ext>
                        </a:extLst>
                      </p:cNvPr>
                      <p:cNvPicPr/>
                      <p:nvPr/>
                    </p:nvPicPr>
                    <p:blipFill>
                      <a:blip r:embed="rId3"/>
                      <a:stretch>
                        <a:fillRect/>
                      </a:stretch>
                    </p:blipFill>
                    <p:spPr>
                      <a:xfrm>
                        <a:off x="4437776" y="594614"/>
                        <a:ext cx="7684316" cy="6023650"/>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555018725"/>
              </p:ext>
            </p:extLst>
          </p:nvPr>
        </p:nvGraphicFramePr>
        <p:xfrm>
          <a:off x="313981" y="1655719"/>
          <a:ext cx="3989572" cy="3901440"/>
        </p:xfrm>
        <a:graphic>
          <a:graphicData uri="http://schemas.openxmlformats.org/drawingml/2006/table">
            <a:tbl>
              <a:tblPr firstRow="1" bandRow="1"/>
              <a:tblGrid>
                <a:gridCol w="3989572">
                  <a:extLst>
                    <a:ext uri="{9D8B030D-6E8A-4147-A177-3AD203B41FA5}">
                      <a16:colId xmlns:a16="http://schemas.microsoft.com/office/drawing/2014/main"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ặ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ẽ</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à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ò</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ầm</a:t>
                      </a:r>
                      <a:r>
                        <a:rPr lang="en-US" sz="2000" b="0" kern="1200">
                          <a:solidFill>
                            <a:schemeClr val="dk1"/>
                          </a:solidFill>
                          <a:effectLst/>
                          <a:latin typeface="Times New Roman" panose="02020603050405020304" pitchFamily="18" charset="0"/>
                          <a:ea typeface="+mn-ea"/>
                          <a:cs typeface="Times New Roman" panose="02020603050405020304" pitchFamily="18" charset="0"/>
                        </a:rPr>
                        <a:t> được duy trì</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Giá các sản phẩm chăn nuôi đã có sự chuyển biến, tăng hơn so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các tháng đầu năm</a:t>
                      </a:r>
                      <a:r>
                        <a:rPr lang="nl-NL" sz="2000" b="0" kern="1200">
                          <a:solidFill>
                            <a:schemeClr val="dk1"/>
                          </a:solidFill>
                          <a:effectLst/>
                          <a:latin typeface="Times New Roman" panose="02020603050405020304" pitchFamily="18" charset="0"/>
                          <a:ea typeface="+mn-ea"/>
                          <a:cs typeface="Times New Roman" panose="02020603050405020304" pitchFamily="18" charset="0"/>
                        </a:rPr>
                        <a:t>, giá heo hơi, giá gà ở mức bình quân 53.000 đồng/k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qua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ả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r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a:solidFill>
                            <a:schemeClr val="dk1"/>
                          </a:solidFill>
                          <a:effectLst/>
                          <a:latin typeface="Times New Roman" panose="02020603050405020304" pitchFamily="18" charset="0"/>
                          <a:ea typeface="+mn-ea"/>
                          <a:cs typeface="Times New Roman" panose="02020603050405020304" pitchFamily="18" charset="0"/>
                        </a:rPr>
                        <a:t> cầm</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775073472"/>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75374" y="346533"/>
            <a:ext cx="266355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2. </a:t>
            </a:r>
            <a:r>
              <a:rPr lang="en-US" sz="2800" b="1" spc="-20" dirty="0" err="1">
                <a:solidFill>
                  <a:srgbClr val="100717"/>
                </a:solidFill>
                <a:latin typeface="Times New Roman" panose="02020603050405020304" pitchFamily="18" charset="0"/>
                <a:cs typeface="Times New Roman" panose="02020603050405020304" pitchFamily="18" charset="0"/>
              </a:rPr>
              <a:t>Chă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uô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9161E749-BAFA-2F4E-E9B8-06971E218D44}"/>
              </a:ext>
            </a:extLst>
          </p:cNvPr>
          <p:cNvGraphicFramePr>
            <a:graphicFrameLocks noChangeAspect="1"/>
          </p:cNvGraphicFramePr>
          <p:nvPr>
            <p:extLst>
              <p:ext uri="{D42A27DB-BD31-4B8C-83A1-F6EECF244321}">
                <p14:modId xmlns:p14="http://schemas.microsoft.com/office/powerpoint/2010/main" val="1814722145"/>
              </p:ext>
            </p:extLst>
          </p:nvPr>
        </p:nvGraphicFramePr>
        <p:xfrm>
          <a:off x="1439149" y="1400510"/>
          <a:ext cx="9582150" cy="5010150"/>
        </p:xfrm>
        <a:graphic>
          <a:graphicData uri="http://schemas.openxmlformats.org/presentationml/2006/ole">
            <mc:AlternateContent xmlns:mc="http://schemas.openxmlformats.org/markup-compatibility/2006">
              <mc:Choice xmlns:v="urn:schemas-microsoft-com:vml" Requires="v">
                <p:oleObj name="Worksheet" r:id="rId2" imgW="9582120" imgH="5010057" progId="Excel.Sheet.12">
                  <p:embed/>
                </p:oleObj>
              </mc:Choice>
              <mc:Fallback>
                <p:oleObj name="Worksheet" r:id="rId2" imgW="9582120" imgH="5010057" progId="Excel.Sheet.12">
                  <p:embed/>
                  <p:pic>
                    <p:nvPicPr>
                      <p:cNvPr id="3" name="Object 2">
                        <a:extLst>
                          <a:ext uri="{FF2B5EF4-FFF2-40B4-BE49-F238E27FC236}">
                            <a16:creationId xmlns:a16="http://schemas.microsoft.com/office/drawing/2014/main" id="{9161E749-BAFA-2F4E-E9B8-06971E218D44}"/>
                          </a:ext>
                        </a:extLst>
                      </p:cNvPr>
                      <p:cNvPicPr/>
                      <p:nvPr/>
                    </p:nvPicPr>
                    <p:blipFill>
                      <a:blip r:embed="rId3"/>
                      <a:stretch>
                        <a:fillRect/>
                      </a:stretch>
                    </p:blipFill>
                    <p:spPr>
                      <a:xfrm>
                        <a:off x="1439149" y="1400510"/>
                        <a:ext cx="9582150" cy="5010150"/>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DDDE20E6-5F04-B963-24B0-A55C08273FC7}"/>
              </a:ext>
            </a:extLst>
          </p:cNvPr>
          <p:cNvGraphicFramePr>
            <a:graphicFrameLocks noGrp="1"/>
          </p:cNvGraphicFramePr>
          <p:nvPr>
            <p:extLst>
              <p:ext uri="{D42A27DB-BD31-4B8C-83A1-F6EECF244321}">
                <p14:modId xmlns:p14="http://schemas.microsoft.com/office/powerpoint/2010/main" val="3841612708"/>
              </p:ext>
            </p:extLst>
          </p:nvPr>
        </p:nvGraphicFramePr>
        <p:xfrm>
          <a:off x="1324485" y="760696"/>
          <a:ext cx="7131618" cy="628078"/>
        </p:xfrm>
        <a:graphic>
          <a:graphicData uri="http://schemas.openxmlformats.org/drawingml/2006/table">
            <a:tbl>
              <a:tblPr firstRow="1" bandRow="1"/>
              <a:tblGrid>
                <a:gridCol w="7131618">
                  <a:extLst>
                    <a:ext uri="{9D8B030D-6E8A-4147-A177-3AD203B41FA5}">
                      <a16:colId xmlns:a16="http://schemas.microsoft.com/office/drawing/2014/main" val="3655493598"/>
                    </a:ext>
                  </a:extLst>
                </a:gridCol>
              </a:tblGrid>
              <a:tr h="62807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800" b="0" kern="1200" dirty="0" err="1">
                          <a:solidFill>
                            <a:schemeClr val="tx1"/>
                          </a:solidFill>
                          <a:effectLst/>
                          <a:latin typeface="Times New Roman" panose="02020603050405020304" pitchFamily="18" charset="0"/>
                          <a:ea typeface="+mn-ea"/>
                          <a:cs typeface="Times New Roman" panose="02020603050405020304" pitchFamily="18" charset="0"/>
                        </a:rPr>
                        <a:t>Tình</a:t>
                      </a:r>
                      <a:r>
                        <a:rPr lang="es-E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800" b="0" kern="1200" dirty="0" err="1">
                          <a:solidFill>
                            <a:schemeClr val="tx1"/>
                          </a:solidFill>
                          <a:effectLst/>
                          <a:latin typeface="Times New Roman" panose="02020603050405020304" pitchFamily="18" charset="0"/>
                          <a:ea typeface="+mn-ea"/>
                          <a:cs typeface="Times New Roman" panose="02020603050405020304" pitchFamily="18" charset="0"/>
                        </a:rPr>
                        <a:t>hình</a:t>
                      </a:r>
                      <a:r>
                        <a:rPr lang="es-E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800" b="0" kern="1200" dirty="0" err="1">
                          <a:solidFill>
                            <a:schemeClr val="tx1"/>
                          </a:solidFill>
                          <a:effectLst/>
                          <a:latin typeface="Times New Roman" panose="02020603050405020304" pitchFamily="18" charset="0"/>
                          <a:ea typeface="+mn-ea"/>
                          <a:cs typeface="Times New Roman" panose="02020603050405020304" pitchFamily="18" charset="0"/>
                        </a:rPr>
                        <a:t>thực</a:t>
                      </a:r>
                      <a:r>
                        <a:rPr lang="es-E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800" b="0" kern="1200" dirty="0" err="1">
                          <a:solidFill>
                            <a:schemeClr val="tx1"/>
                          </a:solidFill>
                          <a:effectLst/>
                          <a:latin typeface="Times New Roman" panose="02020603050405020304" pitchFamily="18" charset="0"/>
                          <a:ea typeface="+mn-ea"/>
                          <a:cs typeface="Times New Roman" panose="02020603050405020304" pitchFamily="18" charset="0"/>
                        </a:rPr>
                        <a:t>hiện</a:t>
                      </a:r>
                      <a:r>
                        <a:rPr lang="vi-VN"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800" b="0" kern="1200" dirty="0" err="1">
                          <a:solidFill>
                            <a:schemeClr val="tx1"/>
                          </a:solidFill>
                          <a:effectLst/>
                          <a:latin typeface="Times New Roman" panose="02020603050405020304" pitchFamily="18" charset="0"/>
                          <a:ea typeface="+mn-ea"/>
                          <a:cs typeface="Times New Roman" panose="02020603050405020304" pitchFamily="18" charset="0"/>
                        </a:rPr>
                        <a:t>chăn</a:t>
                      </a:r>
                      <a:r>
                        <a:rPr lang="en-U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800" b="0" kern="1200" dirty="0" err="1">
                          <a:solidFill>
                            <a:schemeClr val="tx1"/>
                          </a:solidFill>
                          <a:effectLst/>
                          <a:latin typeface="Times New Roman" panose="02020603050405020304" pitchFamily="18" charset="0"/>
                          <a:ea typeface="+mn-ea"/>
                          <a:cs typeface="Times New Roman" panose="02020603050405020304" pitchFamily="18" charset="0"/>
                        </a:rPr>
                        <a:t>nuôi</a:t>
                      </a:r>
                      <a:r>
                        <a:rPr lang="es-E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8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s-ES" sz="28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800" b="0" kern="1200" err="1">
                          <a:solidFill>
                            <a:schemeClr val="tx1"/>
                          </a:solidFill>
                          <a:effectLst/>
                          <a:latin typeface="Times New Roman" panose="02020603050405020304" pitchFamily="18" charset="0"/>
                          <a:ea typeface="+mn-ea"/>
                          <a:cs typeface="Times New Roman" panose="02020603050405020304" pitchFamily="18" charset="0"/>
                        </a:rPr>
                        <a:t>địa</a:t>
                      </a:r>
                      <a:r>
                        <a:rPr lang="es-ES" sz="2800" b="0" kern="1200">
                          <a:solidFill>
                            <a:schemeClr val="tx1"/>
                          </a:solidFill>
                          <a:effectLst/>
                          <a:latin typeface="Times New Roman" panose="02020603050405020304" pitchFamily="18" charset="0"/>
                          <a:ea typeface="+mn-ea"/>
                          <a:cs typeface="Times New Roman" panose="02020603050405020304" pitchFamily="18" charset="0"/>
                        </a:rPr>
                        <a:t> phương</a:t>
                      </a:r>
                      <a:endParaRPr lang="es-ES" sz="26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86469802"/>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992314333"/>
              </p:ext>
            </p:extLst>
          </p:nvPr>
        </p:nvGraphicFramePr>
        <p:xfrm>
          <a:off x="548081" y="1312224"/>
          <a:ext cx="6758555" cy="298704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1800" b="0" kern="1200">
                          <a:solidFill>
                            <a:schemeClr val="dk1"/>
                          </a:solidFill>
                          <a:effectLst/>
                          <a:latin typeface="Times New Roman" panose="02020603050405020304" pitchFamily="18" charset="0"/>
                          <a:ea typeface="+mn-ea"/>
                          <a:cs typeface="Times New Roman" panose="02020603050405020304" pitchFamily="18" charset="0"/>
                        </a:rPr>
                        <a:t>Triển khai quyết liệt các biện pháp để quản lý, bảo vệ rừng; xây dựng phương án phòng cháy chữa cháy rừng trong mùa khô; ngăn chặn triệt để tình trạng lấn, chiếm đất lâm nghiệp và khai thác lâm sản trái phép</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Tiếp tục mời </a:t>
                      </a:r>
                      <a:r>
                        <a:rPr lang="pt-BR" sz="1800" b="0" kern="1200">
                          <a:solidFill>
                            <a:schemeClr val="dk1"/>
                          </a:solidFill>
                          <a:effectLst/>
                          <a:latin typeface="Times New Roman" panose="02020603050405020304" pitchFamily="18" charset="0"/>
                          <a:ea typeface="+mn-ea"/>
                          <a:cs typeface="Times New Roman" panose="02020603050405020304" pitchFamily="18" charset="0"/>
                        </a:rPr>
                        <a:t>gọi</a:t>
                      </a:r>
                      <a:r>
                        <a:rPr lang="vi-VN" sz="1800" b="0" kern="120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1800" b="0" kern="1200">
                          <a:solidFill>
                            <a:schemeClr val="dk1"/>
                          </a:solidFill>
                          <a:effectLst/>
                          <a:latin typeface="Times New Roman" panose="02020603050405020304" pitchFamily="18" charset="0"/>
                          <a:ea typeface="+mn-ea"/>
                          <a:cs typeface="Times New Roman" panose="02020603050405020304" pitchFamily="18" charset="0"/>
                        </a:rPr>
                        <a:t>p</a:t>
                      </a:r>
                      <a:r>
                        <a:rPr lang="vi-VN" sz="1800" b="0" kern="1200">
                          <a:solidFill>
                            <a:schemeClr val="dk1"/>
                          </a:solidFill>
                          <a:effectLst/>
                          <a:latin typeface="Times New Roman" panose="02020603050405020304" pitchFamily="18" charset="0"/>
                          <a:ea typeface="+mn-ea"/>
                          <a:cs typeface="Times New Roman" panose="02020603050405020304" pitchFamily="18" charset="0"/>
                        </a:rPr>
                        <a:t> chế biến gỗ</a:t>
                      </a:r>
                      <a:r>
                        <a:rPr lang="pt-BR" sz="1800" b="0" kern="120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1800" b="0" kern="120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1800" b="0" kern="1200">
                          <a:solidFill>
                            <a:schemeClr val="dk1"/>
                          </a:solidFill>
                          <a:effectLst/>
                          <a:latin typeface="Times New Roman" panose="02020603050405020304" pitchFamily="18" charset="0"/>
                          <a:ea typeface="+mn-ea"/>
                          <a:cs typeface="Times New Roman" panose="02020603050405020304" pitchFamily="18" charset="0"/>
                        </a:rPr>
                        <a:t>để phát triển vùng nguyên liệu gỗ</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48081" y="455589"/>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263024033"/>
              </p:ext>
            </p:extLst>
          </p:nvPr>
        </p:nvGraphicFramePr>
        <p:xfrm>
          <a:off x="371914" y="1510795"/>
          <a:ext cx="4367867" cy="4053840"/>
        </p:xfrm>
        <a:graphic>
          <a:graphicData uri="http://schemas.openxmlformats.org/drawingml/2006/table">
            <a:tbl>
              <a:tblPr firstRow="1" bandRow="1"/>
              <a:tblGrid>
                <a:gridCol w="436786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a:solidFill>
                            <a:schemeClr val="dk1"/>
                          </a:solidFill>
                          <a:effectLst/>
                          <a:latin typeface="Times New Roman" panose="02020603050405020304" pitchFamily="18" charset="0"/>
                          <a:ea typeface="+mn-ea"/>
                          <a:cs typeface="Times New Roman" panose="02020603050405020304" pitchFamily="18" charset="0"/>
                        </a:rPr>
                        <a:t>Tiếp </a:t>
                      </a: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tục thực hiện khắc phục khai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hác thủy sản bất hợp  pháp, không báo cáo, không theo quy định (IUU)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ình hình tàu cá vi phạm vùng biển nước ngoài: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01</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có 03 tàu cá vi phạm, trong đó 02 tàu thuộc huyện Phù Cát và 01 tàu thuộc thị xã Hoài Nhơn</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ể</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ừ</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kh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UBND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ổ</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Hộ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nghị</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kha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cá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biện</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pháp</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IUU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vào</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02/2023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đã</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khắ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phụ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ình</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rạng</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tàu</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cá</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 vi </a:t>
                      </a:r>
                      <a:r>
                        <a:rPr lang="en-US" sz="2000" b="0" kern="1200" baseline="0" dirty="0" err="1">
                          <a:solidFill>
                            <a:schemeClr val="dk1"/>
                          </a:solidFill>
                          <a:effectLst/>
                          <a:latin typeface="Times New Roman" panose="02020603050405020304" pitchFamily="18" charset="0"/>
                          <a:ea typeface="+mn-ea"/>
                          <a:cs typeface="Times New Roman" panose="02020603050405020304" pitchFamily="18" charset="0"/>
                        </a:rPr>
                        <a:t>phạm</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Object 4">
            <a:extLst>
              <a:ext uri="{FF2B5EF4-FFF2-40B4-BE49-F238E27FC236}">
                <a16:creationId xmlns:a16="http://schemas.microsoft.com/office/drawing/2014/main" id="{451E805E-275E-1A0E-FDC4-B15B1F672CF6}"/>
              </a:ext>
            </a:extLst>
          </p:cNvPr>
          <p:cNvGraphicFramePr>
            <a:graphicFrameLocks noChangeAspect="1"/>
          </p:cNvGraphicFramePr>
          <p:nvPr>
            <p:extLst>
              <p:ext uri="{D42A27DB-BD31-4B8C-83A1-F6EECF244321}">
                <p14:modId xmlns:p14="http://schemas.microsoft.com/office/powerpoint/2010/main" val="1339488974"/>
              </p:ext>
            </p:extLst>
          </p:nvPr>
        </p:nvGraphicFramePr>
        <p:xfrm>
          <a:off x="4907560" y="792076"/>
          <a:ext cx="7189365" cy="5491278"/>
        </p:xfrm>
        <a:graphic>
          <a:graphicData uri="http://schemas.openxmlformats.org/presentationml/2006/ole">
            <mc:AlternateContent xmlns:mc="http://schemas.openxmlformats.org/markup-compatibility/2006">
              <mc:Choice xmlns:v="urn:schemas-microsoft-com:vml" Requires="v">
                <p:oleObj name="Worksheet" r:id="rId2" imgW="7458120" imgH="5248168" progId="Excel.Sheet.8">
                  <p:embed/>
                </p:oleObj>
              </mc:Choice>
              <mc:Fallback>
                <p:oleObj name="Worksheet" r:id="rId2" imgW="7458120" imgH="5248168" progId="Excel.Sheet.8">
                  <p:embed/>
                  <p:pic>
                    <p:nvPicPr>
                      <p:cNvPr id="5" name="Object 4">
                        <a:extLst>
                          <a:ext uri="{FF2B5EF4-FFF2-40B4-BE49-F238E27FC236}">
                            <a16:creationId xmlns:a16="http://schemas.microsoft.com/office/drawing/2014/main" id="{451E805E-275E-1A0E-FDC4-B15B1F672CF6}"/>
                          </a:ext>
                        </a:extLst>
                      </p:cNvPr>
                      <p:cNvPicPr/>
                      <p:nvPr/>
                    </p:nvPicPr>
                    <p:blipFill>
                      <a:blip r:embed="rId3"/>
                      <a:stretch>
                        <a:fillRect/>
                      </a:stretch>
                    </p:blipFill>
                    <p:spPr>
                      <a:xfrm>
                        <a:off x="4907560" y="792076"/>
                        <a:ext cx="7189365" cy="5491278"/>
                      </a:xfrm>
                      <a:prstGeom prst="rect">
                        <a:avLst/>
                      </a:prstGeom>
                    </p:spPr>
                  </p:pic>
                </p:oleObj>
              </mc:Fallback>
            </mc:AlternateContent>
          </a:graphicData>
        </a:graphic>
      </p:graphicFrame>
    </p:spTree>
    <p:extLst>
      <p:ext uri="{BB962C8B-B14F-4D97-AF65-F5344CB8AC3E}">
        <p14:creationId xmlns:p14="http://schemas.microsoft.com/office/powerpoint/2010/main" val="3744426745"/>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1.1.5. </a:t>
            </a:r>
            <a:r>
              <a:rPr lang="en-US" sz="2800" b="1" spc="-20" dirty="0" err="1">
                <a:solidFill>
                  <a:srgbClr val="100717"/>
                </a:solidFill>
                <a:latin typeface="Times New Roman" panose="02020603050405020304" pitchFamily="18" charset="0"/>
                <a:cs typeface="Times New Roman" panose="02020603050405020304" pitchFamily="18" charset="0"/>
              </a:rPr>
              <a:t>N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hô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mới</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444217958"/>
              </p:ext>
            </p:extLst>
          </p:nvPr>
        </p:nvGraphicFramePr>
        <p:xfrm>
          <a:off x="371913" y="1510795"/>
          <a:ext cx="7169790" cy="3749040"/>
        </p:xfrm>
        <a:graphic>
          <a:graphicData uri="http://schemas.openxmlformats.org/drawingml/2006/table">
            <a:tbl>
              <a:tblPr firstRow="1" bandRow="1"/>
              <a:tblGrid>
                <a:gridCol w="71697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a:t>
                      </a:r>
                      <a:r>
                        <a:rPr lang="vi-VN" sz="2000" b="0" i="0" kern="1200">
                          <a:solidFill>
                            <a:schemeClr val="dk1"/>
                          </a:solidFill>
                          <a:effectLst/>
                          <a:latin typeface="Times New Roman" panose="02020603050405020304" pitchFamily="18" charset="0"/>
                          <a:ea typeface="+mn-ea"/>
                          <a:cs typeface="Times New Roman" panose="02020603050405020304" pitchFamily="18" charset="0"/>
                        </a:rPr>
                        <a:t>hiệu quả</a:t>
                      </a:r>
                      <a:r>
                        <a:rPr lang="pt-BR"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tháng 6/2023, kết quả đạt được:</a:t>
                      </a: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8</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113 xã đạt chuẩn nông thôn mới, tỷ lệ </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77,8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5400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8</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 xã đạt chuẩn nông thôn mới nâng cao, tỷ lệ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19,32%</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1703" y="1922215"/>
            <a:ext cx="4762500"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416782"/>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770937D-1377-CC7E-CF4C-63302C488F3E}"/>
              </a:ext>
            </a:extLst>
          </p:cNvPr>
          <p:cNvSpPr txBox="1"/>
          <p:nvPr/>
        </p:nvSpPr>
        <p:spPr>
          <a:xfrm>
            <a:off x="676967" y="343495"/>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7" name="TextBox 6">
            <a:extLst>
              <a:ext uri="{FF2B5EF4-FFF2-40B4-BE49-F238E27FC236}">
                <a16:creationId xmlns:a16="http://schemas.microsoft.com/office/drawing/2014/main" id="{ACBD9817-7C26-4351-4F99-4699D41AD9E3}"/>
              </a:ext>
            </a:extLst>
          </p:cNvPr>
          <p:cNvSpPr txBox="1"/>
          <p:nvPr/>
        </p:nvSpPr>
        <p:spPr>
          <a:xfrm>
            <a:off x="1382388" y="781645"/>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graphicFrame>
        <p:nvGraphicFramePr>
          <p:cNvPr id="3" name="Table 2">
            <a:extLst>
              <a:ext uri="{FF2B5EF4-FFF2-40B4-BE49-F238E27FC236}">
                <a16:creationId xmlns:a16="http://schemas.microsoft.com/office/drawing/2014/main" id="{27267577-2F7F-EB37-FACE-F5430831095C}"/>
              </a:ext>
            </a:extLst>
          </p:cNvPr>
          <p:cNvGraphicFramePr>
            <a:graphicFrameLocks noGrp="1"/>
          </p:cNvGraphicFramePr>
          <p:nvPr>
            <p:extLst>
              <p:ext uri="{D42A27DB-BD31-4B8C-83A1-F6EECF244321}">
                <p14:modId xmlns:p14="http://schemas.microsoft.com/office/powerpoint/2010/main" val="2000814514"/>
              </p:ext>
            </p:extLst>
          </p:nvPr>
        </p:nvGraphicFramePr>
        <p:xfrm>
          <a:off x="329969" y="1338472"/>
          <a:ext cx="5190686" cy="3962400"/>
        </p:xfrm>
        <a:graphic>
          <a:graphicData uri="http://schemas.openxmlformats.org/drawingml/2006/table">
            <a:tbl>
              <a:tblPr firstRow="1" bandRow="1"/>
              <a:tblGrid>
                <a:gridCol w="519068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Nhìn chung ngành sản xuất công nghiệp vẫn </a:t>
                      </a:r>
                      <a:r>
                        <a:rPr lang="en-US" sz="1800" b="0" kern="1200">
                          <a:solidFill>
                            <a:schemeClr val="dk1"/>
                          </a:solidFill>
                          <a:effectLst/>
                          <a:latin typeface="Times New Roman" panose="02020603050405020304" pitchFamily="18" charset="0"/>
                          <a:ea typeface="+mn-ea"/>
                          <a:cs typeface="Times New Roman" panose="02020603050405020304" pitchFamily="18" charset="0"/>
                        </a:rPr>
                        <a:t>có</a:t>
                      </a:r>
                      <a:r>
                        <a:rPr lang="en-US" sz="1800" b="0" kern="1200" baseline="0">
                          <a:solidFill>
                            <a:schemeClr val="dk1"/>
                          </a:solidFill>
                          <a:effectLst/>
                          <a:latin typeface="Times New Roman" panose="02020603050405020304" pitchFamily="18" charset="0"/>
                          <a:ea typeface="+mn-ea"/>
                          <a:cs typeface="Times New Roman" panose="02020603050405020304" pitchFamily="18" charset="0"/>
                        </a:rPr>
                        <a:t> sự</a:t>
                      </a:r>
                      <a:r>
                        <a:rPr lang="vi-VN" sz="1800" b="0" kern="1200">
                          <a:solidFill>
                            <a:schemeClr val="dk1"/>
                          </a:solidFill>
                          <a:effectLst/>
                          <a:latin typeface="Times New Roman" panose="02020603050405020304" pitchFamily="18" charset="0"/>
                          <a:ea typeface="+mn-ea"/>
                          <a:cs typeface="Times New Roman" panose="02020603050405020304" pitchFamily="18" charset="0"/>
                        </a:rPr>
                        <a:t> tăng trưởng, giá trị tăng thêm ngành Công nghiệp đạt 3,49%</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Trong các nhóm ngành chủ lực của tỉnh, hầu hết các ngành đều tăng trưởng so với cùng kỳ; tuy nhiên 02 ngành chiếm</a:t>
                      </a:r>
                      <a:r>
                        <a:rPr lang="en-US" sz="1800" b="0" kern="1200" baseline="0">
                          <a:solidFill>
                            <a:schemeClr val="dk1"/>
                          </a:solidFill>
                          <a:effectLst/>
                          <a:latin typeface="Times New Roman" panose="02020603050405020304" pitchFamily="18" charset="0"/>
                          <a:ea typeface="+mn-ea"/>
                          <a:cs typeface="Times New Roman" panose="02020603050405020304" pitchFamily="18" charset="0"/>
                        </a:rPr>
                        <a:t> tỷ trọng tương đối lớn trong cơ cấu là </a:t>
                      </a:r>
                      <a:r>
                        <a:rPr lang="en-US" sz="1800" b="0" kern="1200">
                          <a:solidFill>
                            <a:schemeClr val="dk1"/>
                          </a:solidFill>
                          <a:effectLst/>
                          <a:latin typeface="Times New Roman" panose="02020603050405020304" pitchFamily="18" charset="0"/>
                          <a:ea typeface="+mn-ea"/>
                          <a:cs typeface="Times New Roman" panose="02020603050405020304" pitchFamily="18" charset="0"/>
                        </a:rPr>
                        <a:t>sản xuất giường, tủ, bàn, ghế giảm 17,43%; ngành sản xuất sản phẩm từ kim loại đúc sẵn giảm 12,29%</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Thời gian qua, lãnh đạo tỉnh đã tổ chức nhiều buổi đi nắm bắt tình hình sản xuất, kinh doanh tại các doanh nghiệp trên địa bàn, trực tiếp giải quyết các khó khăn, vướng mắc của từng đơn vị </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Object 1">
            <a:extLst>
              <a:ext uri="{FF2B5EF4-FFF2-40B4-BE49-F238E27FC236}">
                <a16:creationId xmlns:a16="http://schemas.microsoft.com/office/drawing/2014/main" id="{5A69614E-E563-542C-0FFA-4E46BF5706A8}"/>
              </a:ext>
            </a:extLst>
          </p:cNvPr>
          <p:cNvGraphicFramePr>
            <a:graphicFrameLocks noChangeAspect="1"/>
          </p:cNvGraphicFramePr>
          <p:nvPr>
            <p:extLst>
              <p:ext uri="{D42A27DB-BD31-4B8C-83A1-F6EECF244321}">
                <p14:modId xmlns:p14="http://schemas.microsoft.com/office/powerpoint/2010/main" val="2855468369"/>
              </p:ext>
            </p:extLst>
          </p:nvPr>
        </p:nvGraphicFramePr>
        <p:xfrm>
          <a:off x="5910231" y="185410"/>
          <a:ext cx="5681582" cy="6487180"/>
        </p:xfrm>
        <a:graphic>
          <a:graphicData uri="http://schemas.openxmlformats.org/presentationml/2006/ole">
            <mc:AlternateContent xmlns:mc="http://schemas.openxmlformats.org/markup-compatibility/2006">
              <mc:Choice xmlns:v="urn:schemas-microsoft-com:vml" Requires="v">
                <p:oleObj name="Worksheet" r:id="rId2" imgW="3828960" imgH="4371975" progId="Excel.Sheet.8">
                  <p:embed/>
                </p:oleObj>
              </mc:Choice>
              <mc:Fallback>
                <p:oleObj name="Worksheet" r:id="rId2" imgW="3828960" imgH="4371975" progId="Excel.Sheet.8">
                  <p:embed/>
                  <p:pic>
                    <p:nvPicPr>
                      <p:cNvPr id="2" name="Object 1">
                        <a:extLst>
                          <a:ext uri="{FF2B5EF4-FFF2-40B4-BE49-F238E27FC236}">
                            <a16:creationId xmlns:a16="http://schemas.microsoft.com/office/drawing/2014/main" id="{5A69614E-E563-542C-0FFA-4E46BF5706A8}"/>
                          </a:ext>
                        </a:extLst>
                      </p:cNvPr>
                      <p:cNvPicPr/>
                      <p:nvPr/>
                    </p:nvPicPr>
                    <p:blipFill>
                      <a:blip r:embed="rId3"/>
                      <a:stretch>
                        <a:fillRect/>
                      </a:stretch>
                    </p:blipFill>
                    <p:spPr>
                      <a:xfrm>
                        <a:off x="5910231" y="185410"/>
                        <a:ext cx="5681582" cy="6487180"/>
                      </a:xfrm>
                      <a:prstGeom prst="rect">
                        <a:avLst/>
                      </a:prstGeom>
                    </p:spPr>
                  </p:pic>
                </p:oleObj>
              </mc:Fallback>
            </mc:AlternateContent>
          </a:graphicData>
        </a:graphic>
      </p:graphicFrame>
    </p:spTree>
    <p:extLst>
      <p:ext uri="{BB962C8B-B14F-4D97-AF65-F5344CB8AC3E}">
        <p14:creationId xmlns:p14="http://schemas.microsoft.com/office/powerpoint/2010/main" val="63520788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380346310"/>
              </p:ext>
            </p:extLst>
          </p:nvPr>
        </p:nvGraphicFramePr>
        <p:xfrm>
          <a:off x="744364" y="833280"/>
          <a:ext cx="8693251" cy="1620334"/>
        </p:xfrm>
        <a:graphic>
          <a:graphicData uri="http://schemas.openxmlformats.org/drawingml/2006/table">
            <a:tbl>
              <a:tblPr firstRow="1" bandRow="1"/>
              <a:tblGrid>
                <a:gridCol w="8693251">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Chỉ số sản xuất công nghiệp (IIP</a:t>
                      </a: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6 tháng đầu năm </a:t>
                      </a: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en-US" sz="2000" b="0" kern="1200">
                          <a:solidFill>
                            <a:schemeClr val="dk1"/>
                          </a:solidFill>
                          <a:effectLst/>
                          <a:latin typeface="Times New Roman" panose="02020603050405020304" pitchFamily="18" charset="0"/>
                          <a:ea typeface="+mn-ea"/>
                          <a:cs typeface="Times New Roman" panose="02020603050405020304" pitchFamily="18" charset="0"/>
                        </a:rPr>
                        <a:t>ăng 0,08%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a:solidFill>
                            <a:schemeClr val="dk1"/>
                          </a:solidFill>
                          <a:effectLst/>
                          <a:latin typeface="Times New Roman" panose="02020603050405020304" pitchFamily="18" charset="0"/>
                          <a:ea typeface="+mn-ea"/>
                          <a:cs typeface="Times New Roman" panose="02020603050405020304" pitchFamily="18" charset="0"/>
                        </a:rPr>
                        <a:t> kỳ</a:t>
                      </a:r>
                      <a:endParaRPr lang="it-IT"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pic>
        <p:nvPicPr>
          <p:cNvPr id="3" name="Picture 2" descr="A picture containing text, screenshot, font&#10;&#10;Description automatically generated">
            <a:extLst>
              <a:ext uri="{FF2B5EF4-FFF2-40B4-BE49-F238E27FC236}">
                <a16:creationId xmlns:a16="http://schemas.microsoft.com/office/drawing/2014/main" id="{776FD919-070A-24CB-23D4-4A613C48A2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06055" y="2254782"/>
            <a:ext cx="5887272" cy="3439005"/>
          </a:xfrm>
          <a:prstGeom prst="rect">
            <a:avLst/>
          </a:prstGeom>
        </p:spPr>
      </p:pic>
    </p:spTree>
    <p:extLst>
      <p:ext uri="{BB962C8B-B14F-4D97-AF65-F5344CB8AC3E}">
        <p14:creationId xmlns:p14="http://schemas.microsoft.com/office/powerpoint/2010/main" val="2148431958"/>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 KẾT QUẢ THỰC HIỆN 6 THÁNG ĐẦU NĂM 2023</a:t>
            </a:r>
          </a:p>
        </p:txBody>
      </p:sp>
      <p:sp>
        <p:nvSpPr>
          <p:cNvPr id="4" name="TextBox 3">
            <a:extLst>
              <a:ext uri="{FF2B5EF4-FFF2-40B4-BE49-F238E27FC236}">
                <a16:creationId xmlns:a16="http://schemas.microsoft.com/office/drawing/2014/main" id="{F2F47907-BFA6-9C9C-7410-0773243570E0}"/>
              </a:ext>
            </a:extLst>
          </p:cNvPr>
          <p:cNvSpPr txBox="1"/>
          <p:nvPr/>
        </p:nvSpPr>
        <p:spPr>
          <a:xfrm>
            <a:off x="986881" y="506283"/>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1333387" y="946122"/>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p>
        </p:txBody>
      </p:sp>
      <p:graphicFrame>
        <p:nvGraphicFramePr>
          <p:cNvPr id="7" name="Object 6">
            <a:extLst>
              <a:ext uri="{FF2B5EF4-FFF2-40B4-BE49-F238E27FC236}">
                <a16:creationId xmlns:a16="http://schemas.microsoft.com/office/drawing/2014/main" id="{65ED0CA7-264C-1318-BA20-73CF6FF0B39F}"/>
              </a:ext>
            </a:extLst>
          </p:cNvPr>
          <p:cNvGraphicFramePr>
            <a:graphicFrameLocks noChangeAspect="1"/>
          </p:cNvGraphicFramePr>
          <p:nvPr>
            <p:extLst>
              <p:ext uri="{D42A27DB-BD31-4B8C-83A1-F6EECF244321}">
                <p14:modId xmlns:p14="http://schemas.microsoft.com/office/powerpoint/2010/main" val="1763658872"/>
              </p:ext>
            </p:extLst>
          </p:nvPr>
        </p:nvGraphicFramePr>
        <p:xfrm>
          <a:off x="541352" y="1672191"/>
          <a:ext cx="10991850" cy="4533900"/>
        </p:xfrm>
        <a:graphic>
          <a:graphicData uri="http://schemas.openxmlformats.org/presentationml/2006/ole">
            <mc:AlternateContent xmlns:mc="http://schemas.openxmlformats.org/markup-compatibility/2006">
              <mc:Choice xmlns:v="urn:schemas-microsoft-com:vml" Requires="v">
                <p:oleObj name="Worksheet" r:id="rId3" imgW="10991880" imgH="4533833" progId="Excel.Sheet.12">
                  <p:embed/>
                </p:oleObj>
              </mc:Choice>
              <mc:Fallback>
                <p:oleObj name="Worksheet" r:id="rId3" imgW="10991880" imgH="4533833" progId="Excel.Sheet.12">
                  <p:embed/>
                  <p:pic>
                    <p:nvPicPr>
                      <p:cNvPr id="7" name="Object 6">
                        <a:extLst>
                          <a:ext uri="{FF2B5EF4-FFF2-40B4-BE49-F238E27FC236}">
                            <a16:creationId xmlns:a16="http://schemas.microsoft.com/office/drawing/2014/main" id="{65ED0CA7-264C-1318-BA20-73CF6FF0B39F}"/>
                          </a:ext>
                        </a:extLst>
                      </p:cNvPr>
                      <p:cNvPicPr/>
                      <p:nvPr/>
                    </p:nvPicPr>
                    <p:blipFill>
                      <a:blip r:embed="rId4"/>
                      <a:stretch>
                        <a:fillRect/>
                      </a:stretch>
                    </p:blipFill>
                    <p:spPr>
                      <a:xfrm>
                        <a:off x="541352" y="1672191"/>
                        <a:ext cx="10991850" cy="4533900"/>
                      </a:xfrm>
                      <a:prstGeom prst="rect">
                        <a:avLst/>
                      </a:prstGeom>
                    </p:spPr>
                  </p:pic>
                </p:oleObj>
              </mc:Fallback>
            </mc:AlternateContent>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770937D-1377-CC7E-CF4C-63302C488F3E}"/>
              </a:ext>
            </a:extLst>
          </p:cNvPr>
          <p:cNvSpPr txBox="1"/>
          <p:nvPr/>
        </p:nvSpPr>
        <p:spPr>
          <a:xfrm>
            <a:off x="753167" y="190457"/>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BF8E8E2-FC7A-766D-120A-12F0136F960F}"/>
              </a:ext>
            </a:extLst>
          </p:cNvPr>
          <p:cNvGraphicFramePr>
            <a:graphicFrameLocks noGrp="1"/>
          </p:cNvGraphicFramePr>
          <p:nvPr>
            <p:extLst>
              <p:ext uri="{D42A27DB-BD31-4B8C-83A1-F6EECF244321}">
                <p14:modId xmlns:p14="http://schemas.microsoft.com/office/powerpoint/2010/main" val="3552686269"/>
              </p:ext>
            </p:extLst>
          </p:nvPr>
        </p:nvGraphicFramePr>
        <p:xfrm>
          <a:off x="1278883" y="1368676"/>
          <a:ext cx="8561403" cy="975360"/>
        </p:xfrm>
        <a:graphic>
          <a:graphicData uri="http://schemas.openxmlformats.org/drawingml/2006/table">
            <a:tbl>
              <a:tblPr firstRow="1" bandRow="1"/>
              <a:tblGrid>
                <a:gridCol w="8561403">
                  <a:extLst>
                    <a:ext uri="{9D8B030D-6E8A-4147-A177-3AD203B41FA5}">
                      <a16:colId xmlns:a16="http://schemas.microsoft.com/office/drawing/2014/main" val="3655493598"/>
                    </a:ext>
                  </a:extLst>
                </a:gridCol>
              </a:tblGrid>
              <a:tr h="35331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ốc độ tăng VA của Xây dựng 6 tháng đầu năm 2023 là 19,34%</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0424">
                <a:tc>
                  <a:txBody>
                    <a:body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061796"/>
                  </a:ext>
                </a:extLst>
              </a:tr>
            </a:tbl>
          </a:graphicData>
        </a:graphic>
      </p:graphicFrame>
      <p:sp>
        <p:nvSpPr>
          <p:cNvPr id="7" name="TextBox 6">
            <a:extLst>
              <a:ext uri="{FF2B5EF4-FFF2-40B4-BE49-F238E27FC236}">
                <a16:creationId xmlns:a16="http://schemas.microsoft.com/office/drawing/2014/main" id="{ACBD9817-7C26-4351-4F99-4699D41AD9E3}"/>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graphicFrame>
        <p:nvGraphicFramePr>
          <p:cNvPr id="3" name="Object 2">
            <a:extLst>
              <a:ext uri="{FF2B5EF4-FFF2-40B4-BE49-F238E27FC236}">
                <a16:creationId xmlns:a16="http://schemas.microsoft.com/office/drawing/2014/main" id="{A5FB3A6E-B32E-C0AF-953C-6DA986BEDA07}"/>
              </a:ext>
            </a:extLst>
          </p:cNvPr>
          <p:cNvGraphicFramePr>
            <a:graphicFrameLocks noChangeAspect="1"/>
          </p:cNvGraphicFramePr>
          <p:nvPr>
            <p:extLst>
              <p:ext uri="{D42A27DB-BD31-4B8C-83A1-F6EECF244321}">
                <p14:modId xmlns:p14="http://schemas.microsoft.com/office/powerpoint/2010/main" val="2069994271"/>
              </p:ext>
            </p:extLst>
          </p:nvPr>
        </p:nvGraphicFramePr>
        <p:xfrm>
          <a:off x="1082180" y="2253106"/>
          <a:ext cx="10142290" cy="3844958"/>
        </p:xfrm>
        <a:graphic>
          <a:graphicData uri="http://schemas.openxmlformats.org/presentationml/2006/ole">
            <mc:AlternateContent xmlns:mc="http://schemas.openxmlformats.org/markup-compatibility/2006">
              <mc:Choice xmlns:v="urn:schemas-microsoft-com:vml" Requires="v">
                <p:oleObj name="Worksheet" r:id="rId2" imgW="3828960" imgH="1695557" progId="Excel.Sheet.8">
                  <p:embed/>
                </p:oleObj>
              </mc:Choice>
              <mc:Fallback>
                <p:oleObj name="Worksheet" r:id="rId2" imgW="3828960" imgH="1695557" progId="Excel.Sheet.8">
                  <p:embed/>
                  <p:pic>
                    <p:nvPicPr>
                      <p:cNvPr id="3" name="Object 2">
                        <a:extLst>
                          <a:ext uri="{FF2B5EF4-FFF2-40B4-BE49-F238E27FC236}">
                            <a16:creationId xmlns:a16="http://schemas.microsoft.com/office/drawing/2014/main" id="{A5FB3A6E-B32E-C0AF-953C-6DA986BEDA07}"/>
                          </a:ext>
                        </a:extLst>
                      </p:cNvPr>
                      <p:cNvPicPr/>
                      <p:nvPr/>
                    </p:nvPicPr>
                    <p:blipFill>
                      <a:blip r:embed="rId3"/>
                      <a:stretch>
                        <a:fillRect/>
                      </a:stretch>
                    </p:blipFill>
                    <p:spPr>
                      <a:xfrm>
                        <a:off x="1082180" y="2253106"/>
                        <a:ext cx="10142290" cy="3844958"/>
                      </a:xfrm>
                      <a:prstGeom prst="rect">
                        <a:avLst/>
                      </a:prstGeom>
                    </p:spPr>
                  </p:pic>
                </p:oleObj>
              </mc:Fallback>
            </mc:AlternateContent>
          </a:graphicData>
        </a:graphic>
      </p:graphicFrame>
    </p:spTree>
    <p:extLst>
      <p:ext uri="{BB962C8B-B14F-4D97-AF65-F5344CB8AC3E}">
        <p14:creationId xmlns:p14="http://schemas.microsoft.com/office/powerpoint/2010/main" val="3695198589"/>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474404757"/>
              </p:ext>
            </p:extLst>
          </p:nvPr>
        </p:nvGraphicFramePr>
        <p:xfrm>
          <a:off x="604239" y="1525471"/>
          <a:ext cx="5108664" cy="4053840"/>
        </p:xfrm>
        <a:graphic>
          <a:graphicData uri="http://schemas.openxmlformats.org/drawingml/2006/table">
            <a:tbl>
              <a:tblPr firstRow="1" bandRow="1"/>
              <a:tblGrid>
                <a:gridCol w="510866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ổ chức thành công Hội nghị “Nâng cao chất lượng các công trình xây dựng cơ bản trên địa bàn </a:t>
                      </a:r>
                      <a:r>
                        <a:rPr lang="vi-VN" sz="2000" b="0" kern="1200">
                          <a:solidFill>
                            <a:schemeClr val="dk1"/>
                          </a:solidFill>
                          <a:effectLst/>
                          <a:latin typeface="Times New Roman" panose="02020603050405020304" pitchFamily="18" charset="0"/>
                          <a:ea typeface="+mn-ea"/>
                          <a:cs typeface="Times New Roman" panose="02020603050405020304" pitchFamily="18" charset="0"/>
                        </a:rPr>
                        <a:t>tỉnh” và Hội nghị “Quán triệt công tác quản lý trật tự đô thị, trật tự xây dựng; chống lấn, chiếm đất đai, xây dựng trái phép”</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đoạn qua địa </a:t>
                      </a:r>
                      <a:r>
                        <a:rPr lang="it-IT" sz="2000" b="0" kern="1200">
                          <a:solidFill>
                            <a:schemeClr val="dk1"/>
                          </a:solidFill>
                          <a:effectLst/>
                          <a:latin typeface="Times New Roman" panose="02020603050405020304" pitchFamily="18" charset="0"/>
                          <a:ea typeface="+mn-ea"/>
                          <a:cs typeface="Times New Roman" panose="02020603050405020304" pitchFamily="18" charset="0"/>
                        </a:rPr>
                        <a:t>bàn tỉnh</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af-ZA" sz="2000" b="0" kern="1200">
                          <a:solidFill>
                            <a:schemeClr val="dk1"/>
                          </a:solidFill>
                          <a:effectLst/>
                          <a:latin typeface="Times New Roman" panose="02020603050405020304" pitchFamily="18" charset="0"/>
                          <a:ea typeface="+mn-ea"/>
                          <a:cs typeface="Times New Roman" panose="02020603050405020304" pitchFamily="18" charset="0"/>
                        </a:rPr>
                        <a:t>Đến nay, </a:t>
                      </a:r>
                      <a:r>
                        <a:rPr lang="nl-NL" sz="2000" b="0" kern="1200">
                          <a:solidFill>
                            <a:schemeClr val="dk1"/>
                          </a:solidFill>
                          <a:effectLst/>
                          <a:latin typeface="Times New Roman" panose="02020603050405020304" pitchFamily="18" charset="0"/>
                          <a:ea typeface="+mn-ea"/>
                          <a:cs typeface="Times New Roman" panose="02020603050405020304" pitchFamily="18" charset="0"/>
                        </a:rPr>
                        <a:t>đã bàn giao mặt bằng 98,2/117,4km chiều dài toàn tuyế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ạt 84,7% </a:t>
                      </a:r>
                      <a:endParaRPr lang="it-IT"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a:solidFill>
                            <a:schemeClr val="dk1"/>
                          </a:solidFill>
                          <a:effectLst/>
                          <a:latin typeface="Times New Roman" panose="02020603050405020304" pitchFamily="18" charset="0"/>
                          <a:ea typeface="+mn-ea"/>
                          <a:cs typeface="Times New Roman" panose="02020603050405020304" pitchFamily="18" charset="0"/>
                        </a:rPr>
                        <a:t> Thị trường Bất động sản trầm lắng trong 6 tháng trầm lắng, ảnh hưởng đến công tác thu ngân sách</a:t>
                      </a:r>
                      <a:endParaRPr lang="it-IT"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group of people sitting in a room&#10;&#10;Description automatically generated with low confidence">
            <a:extLst>
              <a:ext uri="{FF2B5EF4-FFF2-40B4-BE49-F238E27FC236}">
                <a16:creationId xmlns:a16="http://schemas.microsoft.com/office/drawing/2014/main" id="{5CDE7AB5-FCC7-E08F-A14A-12072FF36A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501" y="3749878"/>
            <a:ext cx="5703243" cy="2744686"/>
          </a:xfrm>
          <a:prstGeom prst="rect">
            <a:avLst/>
          </a:prstGeom>
        </p:spPr>
      </p:pic>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pic>
        <p:nvPicPr>
          <p:cNvPr id="4" name="Picture 3" descr="A group of people sitting in a room&#10;&#10;Description automatically generated with low confidence">
            <a:extLst>
              <a:ext uri="{FF2B5EF4-FFF2-40B4-BE49-F238E27FC236}">
                <a16:creationId xmlns:a16="http://schemas.microsoft.com/office/drawing/2014/main" id="{2C81FAAE-E980-C8BB-CACB-1B5EBE71F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1501" y="750673"/>
            <a:ext cx="5703243" cy="2801718"/>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graphicFrame>
        <p:nvGraphicFramePr>
          <p:cNvPr id="4" name="Table 3">
            <a:extLst>
              <a:ext uri="{FF2B5EF4-FFF2-40B4-BE49-F238E27FC236}">
                <a16:creationId xmlns:a16="http://schemas.microsoft.com/office/drawing/2014/main" id="{8B2A91AF-00C2-B55E-A461-E4F4D180C7EB}"/>
              </a:ext>
            </a:extLst>
          </p:cNvPr>
          <p:cNvGraphicFramePr>
            <a:graphicFrameLocks noGrp="1"/>
          </p:cNvGraphicFramePr>
          <p:nvPr>
            <p:extLst>
              <p:ext uri="{D42A27DB-BD31-4B8C-83A1-F6EECF244321}">
                <p14:modId xmlns:p14="http://schemas.microsoft.com/office/powerpoint/2010/main" val="3931863679"/>
              </p:ext>
            </p:extLst>
          </p:nvPr>
        </p:nvGraphicFramePr>
        <p:xfrm>
          <a:off x="6096000" y="926952"/>
          <a:ext cx="5690533" cy="5486400"/>
        </p:xfrm>
        <a:graphic>
          <a:graphicData uri="http://schemas.openxmlformats.org/drawingml/2006/table">
            <a:tbl>
              <a:tblPr firstRow="1" bandRow="1"/>
              <a:tblGrid>
                <a:gridCol w="569053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rong</a:t>
                      </a:r>
                      <a:r>
                        <a:rPr lang="en-US" sz="1800" b="0" kern="1200" baseline="0">
                          <a:solidFill>
                            <a:schemeClr val="dk1"/>
                          </a:solidFill>
                          <a:effectLst/>
                          <a:latin typeface="Times New Roman" panose="02020603050405020304" pitchFamily="18" charset="0"/>
                          <a:ea typeface="+mn-ea"/>
                          <a:cs typeface="Times New Roman" panose="02020603050405020304" pitchFamily="18" charset="0"/>
                        </a:rPr>
                        <a:t> 6 tháng đầu năm</a:t>
                      </a:r>
                      <a:r>
                        <a:rPr lang="en-US" sz="1800" b="0" kern="1200">
                          <a:solidFill>
                            <a:schemeClr val="dk1"/>
                          </a:solidFill>
                          <a:effectLst/>
                          <a:latin typeface="Times New Roman" panose="02020603050405020304" pitchFamily="18" charset="0"/>
                          <a:ea typeface="+mn-ea"/>
                          <a:cs typeface="Times New Roman" panose="02020603050405020304" pitchFamily="18" charset="0"/>
                        </a:rPr>
                        <a:t>, tỷ</a:t>
                      </a:r>
                      <a:r>
                        <a:rPr lang="vi-VN" sz="1800" b="0" kern="1200">
                          <a:solidFill>
                            <a:schemeClr val="dk1"/>
                          </a:solidFill>
                          <a:effectLst/>
                          <a:latin typeface="Times New Roman" panose="02020603050405020304" pitchFamily="18" charset="0"/>
                          <a:ea typeface="+mn-ea"/>
                          <a:cs typeface="Times New Roman" panose="02020603050405020304" pitchFamily="18" charset="0"/>
                        </a:rPr>
                        <a:t> lệ dân </a:t>
                      </a:r>
                      <a:r>
                        <a:rPr lang="en-US" sz="1800" b="0" kern="1200">
                          <a:solidFill>
                            <a:schemeClr val="dk1"/>
                          </a:solidFill>
                          <a:effectLst/>
                          <a:latin typeface="Times New Roman" panose="02020603050405020304" pitchFamily="18" charset="0"/>
                          <a:ea typeface="+mn-ea"/>
                          <a:cs typeface="Times New Roman" panose="02020603050405020304" pitchFamily="18" charset="0"/>
                        </a:rPr>
                        <a:t>số đô thị được cung cấp</a:t>
                      </a:r>
                      <a:r>
                        <a:rPr lang="vi-VN" sz="1800" b="0" kern="1200">
                          <a:solidFill>
                            <a:schemeClr val="dk1"/>
                          </a:solidFill>
                          <a:effectLst/>
                          <a:latin typeface="Times New Roman" panose="02020603050405020304" pitchFamily="18" charset="0"/>
                          <a:ea typeface="+mn-ea"/>
                          <a:cs typeface="Times New Roman" panose="02020603050405020304" pitchFamily="18" charset="0"/>
                        </a:rPr>
                        <a:t> nước sạch</a:t>
                      </a:r>
                      <a:r>
                        <a:rPr lang="en-US" sz="1800" b="0" kern="1200">
                          <a:solidFill>
                            <a:schemeClr val="dk1"/>
                          </a:solidFill>
                          <a:effectLst/>
                          <a:latin typeface="Times New Roman" panose="02020603050405020304" pitchFamily="18" charset="0"/>
                          <a:ea typeface="+mn-ea"/>
                          <a:cs typeface="Times New Roman" panose="02020603050405020304" pitchFamily="18" charset="0"/>
                        </a:rPr>
                        <a:t> qua hệ thống cấp nước tập trung</a:t>
                      </a:r>
                      <a:r>
                        <a:rPr lang="vi-VN" sz="1800" b="0" kern="1200">
                          <a:solidFill>
                            <a:schemeClr val="dk1"/>
                          </a:solidFill>
                          <a:effectLst/>
                          <a:latin typeface="Times New Roman" panose="02020603050405020304" pitchFamily="18" charset="0"/>
                          <a:ea typeface="+mn-ea"/>
                          <a:cs typeface="Times New Roman" panose="02020603050405020304" pitchFamily="18" charset="0"/>
                        </a:rPr>
                        <a:t> là</a:t>
                      </a:r>
                      <a:r>
                        <a:rPr lang="en-US" sz="1800" b="0" kern="1200">
                          <a:solidFill>
                            <a:schemeClr val="dk1"/>
                          </a:solidFill>
                          <a:effectLst/>
                          <a:latin typeface="Times New Roman" panose="02020603050405020304" pitchFamily="18" charset="0"/>
                          <a:ea typeface="+mn-ea"/>
                          <a:cs typeface="Times New Roman" panose="02020603050405020304" pitchFamily="18" charset="0"/>
                        </a:rPr>
                        <a:t> 81,09%. Trong đó có 02 huyện: Tây Sơn và huyện Phù Mỹ vượt kế hoạch, trong đó Tây Sơn vượt 0,53%, Phù Mỹ vượt 1,6%; thành phố Quy Nhơn tương đương so với cùng kỳ, 08 địa phương còn lại không đạt kế hoạch, trong đó thị xã An Nhơn, thị xã Hoài Nhơn, huyện Vân Canh, huyện An Lão và huyện Phù Cát có chỉ tiêu tương đối thấp. 02 địa phương có tỷ lệ dân số đô thị cao nhưng thực hiện chưa đạt chỉ tiêu giao Quý II là Hoài Nhơn và An Nhơn, ảnh hưởng lớn đến tỷ lệ chung của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iến độ đầu tư, mở rộng mạng lưới của các công trình cấp nước trên địa bàn tỉnh chưa đảm bảo nên dẫn đến không có nguồn nước để đáp ứng cho nhu cầu sử dụng của người dân, đặc biệt là tại phường Nhơn Hòa (An Nhơn); các đô thị trên địa bàn thị xã Hoài Nhơn; thị trấn Phù Mỹ (Phù Mỹ); thị trấn Ngô Mây (Phù Cát); thị trấn Diêu Trì (Tuy Phước); thị trấn An Lão (An Lão); thị trấn Vân Canh (Vân Canh)</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3" name="Table 2">
            <a:extLst>
              <a:ext uri="{FF2B5EF4-FFF2-40B4-BE49-F238E27FC236}">
                <a16:creationId xmlns:a16="http://schemas.microsoft.com/office/drawing/2014/main" id="{D79F22DC-D739-66FE-CC98-638D607EB359}"/>
              </a:ext>
            </a:extLst>
          </p:cNvPr>
          <p:cNvGraphicFramePr>
            <a:graphicFrameLocks noGrp="1"/>
          </p:cNvGraphicFramePr>
          <p:nvPr>
            <p:extLst>
              <p:ext uri="{D42A27DB-BD31-4B8C-83A1-F6EECF244321}">
                <p14:modId xmlns:p14="http://schemas.microsoft.com/office/powerpoint/2010/main" val="1678919853"/>
              </p:ext>
            </p:extLst>
          </p:nvPr>
        </p:nvGraphicFramePr>
        <p:xfrm>
          <a:off x="402671" y="1439194"/>
          <a:ext cx="5125675" cy="5091907"/>
        </p:xfrm>
        <a:graphic>
          <a:graphicData uri="http://schemas.openxmlformats.org/drawingml/2006/table">
            <a:tbl>
              <a:tblPr firstRow="1" firstCol="1" bandRow="1"/>
              <a:tblGrid>
                <a:gridCol w="849436">
                  <a:extLst>
                    <a:ext uri="{9D8B030D-6E8A-4147-A177-3AD203B41FA5}">
                      <a16:colId xmlns:a16="http://schemas.microsoft.com/office/drawing/2014/main" val="2248033902"/>
                    </a:ext>
                  </a:extLst>
                </a:gridCol>
                <a:gridCol w="1721969">
                  <a:extLst>
                    <a:ext uri="{9D8B030D-6E8A-4147-A177-3AD203B41FA5}">
                      <a16:colId xmlns:a16="http://schemas.microsoft.com/office/drawing/2014/main" val="3887286811"/>
                    </a:ext>
                  </a:extLst>
                </a:gridCol>
                <a:gridCol w="849436">
                  <a:extLst>
                    <a:ext uri="{9D8B030D-6E8A-4147-A177-3AD203B41FA5}">
                      <a16:colId xmlns:a16="http://schemas.microsoft.com/office/drawing/2014/main" val="3315993225"/>
                    </a:ext>
                  </a:extLst>
                </a:gridCol>
                <a:gridCol w="849436">
                  <a:extLst>
                    <a:ext uri="{9D8B030D-6E8A-4147-A177-3AD203B41FA5}">
                      <a16:colId xmlns:a16="http://schemas.microsoft.com/office/drawing/2014/main" val="3823151911"/>
                    </a:ext>
                  </a:extLst>
                </a:gridCol>
                <a:gridCol w="855398">
                  <a:extLst>
                    <a:ext uri="{9D8B030D-6E8A-4147-A177-3AD203B41FA5}">
                      <a16:colId xmlns:a16="http://schemas.microsoft.com/office/drawing/2014/main" val="2267749906"/>
                    </a:ext>
                  </a:extLst>
                </a:gridCol>
              </a:tblGrid>
              <a:tr h="631192">
                <a:tc rowSpan="2">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STT</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Cấp huyệ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Kết quả thực hiện đến Quý II/202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tc rowSpan="2">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Đánh giá</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7964376"/>
                  </a:ext>
                </a:extLst>
              </a:tr>
              <a:tr h="1472782">
                <a:tc vMerge="1">
                  <a:txBody>
                    <a:bodyPr/>
                    <a:lstStyle/>
                    <a:p>
                      <a:endParaRPr lang="vi-VN"/>
                    </a:p>
                  </a:txBody>
                  <a:tcPr/>
                </a:tc>
                <a:tc vMerge="1">
                  <a:txBody>
                    <a:bodyPr/>
                    <a:lstStyle/>
                    <a:p>
                      <a:endParaRPr lang="vi-VN"/>
                    </a:p>
                  </a:txBody>
                  <a:tcPr/>
                </a:tc>
                <a:tc>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Số dân số tăng thêm trong Quý II/2023</a:t>
                      </a:r>
                      <a:b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b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người)</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Tỷ lệ cấp nước đến Quý II(%)</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vi-VN"/>
                    </a:p>
                  </a:txBody>
                  <a:tcPr/>
                </a:tc>
                <a:extLst>
                  <a:ext uri="{0D108BD9-81ED-4DB2-BD59-A6C34878D82A}">
                    <a16:rowId xmlns:a16="http://schemas.microsoft.com/office/drawing/2014/main" val="400308416"/>
                  </a:ext>
                </a:extLst>
              </a:tr>
              <a:tr h="42079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ành phố Quy Nhơ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99,8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383712"/>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ị xã An Nhơ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344</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9,1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9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345916"/>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Phù Mỹ</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9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1,8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6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5045970"/>
                  </a:ext>
                </a:extLst>
              </a:tr>
              <a:tr h="210398">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4</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hị xã Hoài Nhơ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48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2,57%</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04%</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6778048"/>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5</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Tây Sơ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88</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92,02%</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4077699"/>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Tuy Phước</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4,27%</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1585873"/>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Hoài Ân</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96,49%</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2%</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4612280"/>
                  </a:ext>
                </a:extLst>
              </a:tr>
              <a:tr h="42079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Vĩnh Thạnh</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7,31%</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23%</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000554"/>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Vân Canh</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34,19%</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45%</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8149877"/>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An Lão</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4,7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9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5891816"/>
                  </a:ext>
                </a:extLst>
              </a:tr>
              <a:tr h="215105">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Huyện Phù Cát</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3.014</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5,92%</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19%</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63489645"/>
                  </a:ext>
                </a:extLst>
              </a:tr>
              <a:tr h="215105">
                <a:tc>
                  <a:txBody>
                    <a:bodyPr/>
                    <a:lstStyle/>
                    <a:p>
                      <a:endParaRPr lang="vi-VN" sz="900">
                        <a:effectLst/>
                        <a:latin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ổng cộng</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10</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81,09%</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6%</a:t>
                      </a:r>
                      <a:endParaRPr lang="vi-VN" sz="1200">
                        <a:effectLst/>
                        <a:latin typeface=".VnTime"/>
                        <a:ea typeface="Times New Roman" panose="02020603050405020304" pitchFamily="18" charset="0"/>
                        <a:cs typeface="Times New Roman" panose="02020603050405020304" pitchFamily="18" charset="0"/>
                      </a:endParaRPr>
                    </a:p>
                  </a:txBody>
                  <a:tcPr marL="61191" marR="611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0909885"/>
                  </a:ext>
                </a:extLst>
              </a:tr>
            </a:tbl>
          </a:graphicData>
        </a:graphic>
      </p:graphicFrame>
    </p:spTree>
    <p:extLst>
      <p:ext uri="{BB962C8B-B14F-4D97-AF65-F5344CB8AC3E}">
        <p14:creationId xmlns:p14="http://schemas.microsoft.com/office/powerpoint/2010/main" val="1731010684"/>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BF8E8E2-FC7A-766D-120A-12F0136F960F}"/>
              </a:ext>
            </a:extLst>
          </p:cNvPr>
          <p:cNvGraphicFramePr>
            <a:graphicFrameLocks noGrp="1"/>
          </p:cNvGraphicFramePr>
          <p:nvPr>
            <p:extLst>
              <p:ext uri="{D42A27DB-BD31-4B8C-83A1-F6EECF244321}">
                <p14:modId xmlns:p14="http://schemas.microsoft.com/office/powerpoint/2010/main" val="3298748677"/>
              </p:ext>
            </p:extLst>
          </p:nvPr>
        </p:nvGraphicFramePr>
        <p:xfrm>
          <a:off x="796954" y="875062"/>
          <a:ext cx="5825536" cy="975360"/>
        </p:xfrm>
        <a:graphic>
          <a:graphicData uri="http://schemas.openxmlformats.org/drawingml/2006/table">
            <a:tbl>
              <a:tblPr firstRow="1" bandRow="1"/>
              <a:tblGrid>
                <a:gridCol w="5825536">
                  <a:extLst>
                    <a:ext uri="{9D8B030D-6E8A-4147-A177-3AD203B41FA5}">
                      <a16:colId xmlns:a16="http://schemas.microsoft.com/office/drawing/2014/main" val="3655493598"/>
                    </a:ext>
                  </a:extLst>
                </a:gridCol>
              </a:tblGrid>
              <a:tr h="21640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1" kern="1200" dirty="0">
                          <a:solidFill>
                            <a:schemeClr val="dk1"/>
                          </a:solidFill>
                          <a:effectLst/>
                          <a:latin typeface="Times New Roman" panose="02020603050405020304" pitchFamily="18" charset="0"/>
                          <a:ea typeface="+mn-ea"/>
                          <a:cs typeface="Times New Roman" panose="02020603050405020304" pitchFamily="18" charset="0"/>
                        </a:rPr>
                        <a:t>3.1</a:t>
                      </a:r>
                      <a:r>
                        <a:rPr lang="en-US" sz="2400" b="1" kern="1200">
                          <a:solidFill>
                            <a:schemeClr val="dk1"/>
                          </a:solidFill>
                          <a:effectLst/>
                          <a:latin typeface="Times New Roman" panose="02020603050405020304" pitchFamily="18" charset="0"/>
                          <a:ea typeface="+mn-ea"/>
                          <a:cs typeface="Times New Roman" panose="02020603050405020304" pitchFamily="18" charset="0"/>
                        </a:rPr>
                        <a:t>. </a:t>
                      </a:r>
                      <a:r>
                        <a:rPr lang="vi-VN" sz="2400" b="1" kern="1200">
                          <a:solidFill>
                            <a:schemeClr val="dk1"/>
                          </a:solidFill>
                          <a:effectLst/>
                          <a:latin typeface="Times New Roman" panose="02020603050405020304" pitchFamily="18" charset="0"/>
                          <a:ea typeface="+mn-ea"/>
                          <a:cs typeface="Times New Roman" panose="02020603050405020304" pitchFamily="18" charset="0"/>
                        </a:rPr>
                        <a:t>Về số liệu tăng trưởng</a:t>
                      </a:r>
                      <a:endParaRPr lang="vi-VN" sz="2400" b="1"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245260">
                <a:tc>
                  <a:txBody>
                    <a:body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9061796"/>
                  </a:ext>
                </a:extLst>
              </a:tr>
            </a:tbl>
          </a:graphicData>
        </a:graphic>
      </p:graphicFrame>
      <p:sp>
        <p:nvSpPr>
          <p:cNvPr id="3" name="TextBox 2">
            <a:extLst>
              <a:ext uri="{FF2B5EF4-FFF2-40B4-BE49-F238E27FC236}">
                <a16:creationId xmlns:a16="http://schemas.microsoft.com/office/drawing/2014/main" id="{51D74589-AEB4-18BB-5F31-8BEC35C0C01B}"/>
              </a:ext>
            </a:extLst>
          </p:cNvPr>
          <p:cNvSpPr txBox="1"/>
          <p:nvPr/>
        </p:nvSpPr>
        <p:spPr>
          <a:xfrm>
            <a:off x="434552" y="413397"/>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CBD78073-CF71-4A62-0446-18E6385B8846}"/>
              </a:ext>
            </a:extLst>
          </p:cNvPr>
          <p:cNvGraphicFramePr>
            <a:graphicFrameLocks noGrp="1"/>
          </p:cNvGraphicFramePr>
          <p:nvPr/>
        </p:nvGraphicFramePr>
        <p:xfrm>
          <a:off x="213435" y="1770746"/>
          <a:ext cx="6672043" cy="4688211"/>
        </p:xfrm>
        <a:graphic>
          <a:graphicData uri="http://schemas.openxmlformats.org/drawingml/2006/table">
            <a:tbl>
              <a:tblPr>
                <a:tableStyleId>{5C22544A-7EE6-4342-B048-85BDC9FD1C3A}</a:tableStyleId>
              </a:tblPr>
              <a:tblGrid>
                <a:gridCol w="3665989">
                  <a:extLst>
                    <a:ext uri="{9D8B030D-6E8A-4147-A177-3AD203B41FA5}">
                      <a16:colId xmlns:a16="http://schemas.microsoft.com/office/drawing/2014/main" val="760824019"/>
                    </a:ext>
                  </a:extLst>
                </a:gridCol>
                <a:gridCol w="1015068">
                  <a:extLst>
                    <a:ext uri="{9D8B030D-6E8A-4147-A177-3AD203B41FA5}">
                      <a16:colId xmlns:a16="http://schemas.microsoft.com/office/drawing/2014/main" val="1967219516"/>
                    </a:ext>
                  </a:extLst>
                </a:gridCol>
                <a:gridCol w="1040235">
                  <a:extLst>
                    <a:ext uri="{9D8B030D-6E8A-4147-A177-3AD203B41FA5}">
                      <a16:colId xmlns:a16="http://schemas.microsoft.com/office/drawing/2014/main" val="1016056179"/>
                    </a:ext>
                  </a:extLst>
                </a:gridCol>
                <a:gridCol w="950751">
                  <a:extLst>
                    <a:ext uri="{9D8B030D-6E8A-4147-A177-3AD203B41FA5}">
                      <a16:colId xmlns:a16="http://schemas.microsoft.com/office/drawing/2014/main" val="994981589"/>
                    </a:ext>
                  </a:extLst>
                </a:gridCol>
              </a:tblGrid>
              <a:tr h="356416">
                <a:tc>
                  <a:txBody>
                    <a:bodyPr/>
                    <a:lstStyle/>
                    <a:p>
                      <a:pPr algn="l" fontAlgn="b"/>
                      <a:endParaRPr lang="en-US" sz="2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b"/>
                      <a:r>
                        <a:rPr lang="en-US" sz="2000" b="1" i="0" u="none" strike="noStrike" dirty="0" err="1">
                          <a:solidFill>
                            <a:srgbClr val="000000"/>
                          </a:solidFill>
                          <a:effectLst/>
                          <a:latin typeface="Times New Roman" panose="02020603050405020304" pitchFamily="18" charset="0"/>
                          <a:cs typeface="Times New Roman" panose="02020603050405020304" pitchFamily="18" charset="0"/>
                        </a:rPr>
                        <a:t>Quý</a:t>
                      </a:r>
                      <a:r>
                        <a:rPr lang="en-US" sz="2000" b="1" i="0" u="none" strike="noStrike" dirty="0">
                          <a:solidFill>
                            <a:srgbClr val="000000"/>
                          </a:solidFill>
                          <a:effectLst/>
                          <a:latin typeface="Times New Roman" panose="02020603050405020304" pitchFamily="18" charset="0"/>
                          <a:cs typeface="Times New Roman" panose="02020603050405020304" pitchFamily="18" charset="0"/>
                        </a:rPr>
                        <a:t> 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1" u="none" strike="noStrike">
                          <a:effectLst/>
                          <a:latin typeface="Times New Roman" panose="02020603050405020304" pitchFamily="18" charset="0"/>
                          <a:cs typeface="Times New Roman" panose="02020603050405020304" pitchFamily="18" charset="0"/>
                        </a:rPr>
                        <a:t>Quý II</a:t>
                      </a:r>
                      <a:endParaRPr lang="en-US" sz="2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1" u="none" strike="noStrike" dirty="0">
                          <a:effectLst/>
                          <a:latin typeface="Times New Roman" panose="02020603050405020304" pitchFamily="18" charset="0"/>
                          <a:cs typeface="Times New Roman" panose="02020603050405020304" pitchFamily="18" charset="0"/>
                        </a:rPr>
                        <a:t>6 </a:t>
                      </a:r>
                      <a:r>
                        <a:rPr lang="en-US" sz="2000" b="1" u="none" strike="noStrike" dirty="0" err="1">
                          <a:effectLst/>
                          <a:latin typeface="Times New Roman" panose="02020603050405020304" pitchFamily="18" charset="0"/>
                          <a:cs typeface="Times New Roman" panose="02020603050405020304" pitchFamily="18" charset="0"/>
                        </a:rPr>
                        <a:t>tháng</a:t>
                      </a:r>
                      <a:endParaRPr lang="en-US" sz="2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62683160"/>
                  </a:ext>
                </a:extLst>
              </a:tr>
              <a:tr h="599372">
                <a:tc>
                  <a:txBody>
                    <a:bodyPr/>
                    <a:lstStyle/>
                    <a:p>
                      <a:pPr algn="l" fontAlgn="b"/>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ốc</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độ</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rị</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thêm</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1" u="none" strike="noStrike" kern="1200" dirty="0" err="1">
                          <a:solidFill>
                            <a:schemeClr val="dk1"/>
                          </a:solidFill>
                          <a:effectLst/>
                          <a:latin typeface="Times New Roman" panose="02020603050405020304" pitchFamily="18" charset="0"/>
                          <a:ea typeface="+mn-ea"/>
                          <a:cs typeface="Times New Roman" panose="02020603050405020304" pitchFamily="18" charset="0"/>
                        </a:rPr>
                        <a:t>vụ</a:t>
                      </a:r>
                      <a:endParaRPr lang="en-US" sz="2000" b="1"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Times New Roman" panose="02020603050405020304" pitchFamily="18" charset="0"/>
                        </a:rPr>
                        <a:t>105.8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Times New Roman" panose="02020603050405020304" pitchFamily="18" charset="0"/>
                        </a:rPr>
                        <a:t>109.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1" i="0" u="none" strike="noStrike" dirty="0">
                          <a:solidFill>
                            <a:srgbClr val="000000"/>
                          </a:solidFill>
                          <a:effectLst/>
                          <a:latin typeface="Times New Roman" panose="02020603050405020304" pitchFamily="18" charset="0"/>
                        </a:rPr>
                        <a:t>107.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56236897"/>
                  </a:ext>
                </a:extLst>
              </a:tr>
              <a:tr h="599372">
                <a:tc>
                  <a:txBody>
                    <a:bodyPr/>
                    <a:lstStyle/>
                    <a:p>
                      <a:pPr algn="l" fontAlgn="b"/>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buôn</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sửa</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chữa</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ô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ô</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mô</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ô</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xe</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máy</a:t>
                      </a:r>
                      <a:endPar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8.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13.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11.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91078529"/>
                  </a:ext>
                </a:extLst>
              </a:tr>
              <a:tr h="356416">
                <a:tc>
                  <a:txBody>
                    <a:bodyPr/>
                    <a:lstStyle/>
                    <a:p>
                      <a:pPr algn="l" fontAlgn="b"/>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Vận</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ải</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kho</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bãi</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5.5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115.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10.4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5218705"/>
                  </a:ext>
                </a:extLst>
              </a:tr>
              <a:tr h="356416">
                <a:tc>
                  <a:txBody>
                    <a:bodyPr/>
                    <a:lstStyle/>
                    <a:p>
                      <a:pPr algn="l" fontAlgn="b"/>
                      <a:r>
                        <a:rPr lang="vi-VN" sz="2000" u="none" strike="noStrike" kern="1200">
                          <a:solidFill>
                            <a:schemeClr val="dk1"/>
                          </a:solidFill>
                          <a:effectLst/>
                          <a:latin typeface="Times New Roman" panose="02020603050405020304" pitchFamily="18" charset="0"/>
                          <a:ea typeface="+mn-ea"/>
                          <a:cs typeface="Times New Roman" panose="02020603050405020304" pitchFamily="18" charset="0"/>
                        </a:rPr>
                        <a:t> Dịch vụ lưu trú và ăn uống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8.6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113.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11.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40776944"/>
                  </a:ext>
                </a:extLst>
              </a:tr>
              <a:tr h="380821">
                <a:tc>
                  <a:txBody>
                    <a:bodyPr/>
                    <a:lstStyle/>
                    <a:p>
                      <a:pPr algn="l" fontAlgn="b"/>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Thông tin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ruyền</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hông</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97.7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99.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98.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213675"/>
                  </a:ext>
                </a:extLst>
              </a:tr>
              <a:tr h="599372">
                <a:tc>
                  <a:txBody>
                    <a:bodyPr/>
                    <a:lstStyle/>
                    <a:p>
                      <a:pPr algn="l" fontAlgn="b"/>
                      <a:r>
                        <a:rPr lang="en-US" sz="2000" u="none" strike="noStrike" kern="1200">
                          <a:solidFill>
                            <a:schemeClr val="dk1"/>
                          </a:solidFill>
                          <a:effectLst/>
                          <a:latin typeface="Times New Roman" panose="02020603050405020304" pitchFamily="18" charset="0"/>
                          <a:ea typeface="+mn-ea"/>
                          <a:cs typeface="Times New Roman" panose="02020603050405020304" pitchFamily="18" charset="0"/>
                        </a:rPr>
                        <a:t> Hoạt động tài chính, ngân hàng và bảo hiểm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8.2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7.2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107.7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68157158"/>
                  </a:ext>
                </a:extLst>
              </a:tr>
              <a:tr h="599372">
                <a:tc>
                  <a:txBody>
                    <a:bodyPr/>
                    <a:lstStyle/>
                    <a:p>
                      <a:pPr algn="l" fontAlgn="b"/>
                      <a:r>
                        <a:rPr lang="en-US" sz="2000" u="none" strike="noStrike" kern="1200">
                          <a:solidFill>
                            <a:schemeClr val="dk1"/>
                          </a:solidFill>
                          <a:effectLst/>
                          <a:latin typeface="Times New Roman" panose="02020603050405020304" pitchFamily="18" charset="0"/>
                          <a:ea typeface="+mn-ea"/>
                          <a:cs typeface="Times New Roman" panose="02020603050405020304" pitchFamily="18" charset="0"/>
                        </a:rPr>
                        <a:t> Hoạt động kinh doanh bất động sản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1.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1.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a:solidFill>
                            <a:srgbClr val="000000"/>
                          </a:solidFill>
                          <a:effectLst/>
                          <a:latin typeface="Times New Roman" panose="02020603050405020304" pitchFamily="18" charset="0"/>
                        </a:rPr>
                        <a:t>101.34</a:t>
                      </a:r>
                      <a:endParaRPr lang="en-US" sz="2000" b="0" i="0" u="none" strike="noStrike" dirty="0">
                        <a:solidFill>
                          <a:srgbClr val="000000"/>
                        </a:solidFill>
                        <a:effectLst/>
                        <a:latin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2123124"/>
                  </a:ext>
                </a:extLst>
              </a:tr>
              <a:tr h="380821">
                <a:tc>
                  <a:txBody>
                    <a:bodyPr/>
                    <a:lstStyle/>
                    <a:p>
                      <a:pPr algn="l" fontAlgn="b"/>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Giáo</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dục</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đào</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tạo</a:t>
                      </a:r>
                      <a:r>
                        <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3.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6.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5.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6717313"/>
                  </a:ext>
                </a:extLst>
              </a:tr>
              <a:tr h="380821">
                <a:tc>
                  <a:txBody>
                    <a:bodyPr/>
                    <a:lstStyle/>
                    <a:p>
                      <a:pPr algn="l" fontAlgn="b"/>
                      <a:r>
                        <a:rPr lang="en-US" sz="2000" u="none" strike="noStrike" kern="1200" dirty="0" err="1">
                          <a:solidFill>
                            <a:schemeClr val="dk1"/>
                          </a:solidFill>
                          <a:effectLst/>
                          <a:latin typeface="Times New Roman" panose="02020603050405020304" pitchFamily="18" charset="0"/>
                          <a:ea typeface="+mn-ea"/>
                          <a:cs typeface="Times New Roman" panose="02020603050405020304" pitchFamily="18" charset="0"/>
                        </a:rPr>
                        <a:t>Khác</a:t>
                      </a:r>
                      <a:endParaRPr lang="en-US" sz="2000" u="none" strike="noStrike" kern="1200" dirty="0">
                        <a:solidFill>
                          <a:schemeClr val="dk1"/>
                        </a:solidFill>
                        <a:effectLst/>
                        <a:latin typeface="Times New Roman" panose="02020603050405020304" pitchFamily="18" charset="0"/>
                        <a:ea typeface="+mn-ea"/>
                        <a:cs typeface="Times New Roman" panose="02020603050405020304" pitchFamily="18"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en-US" sz="2000" b="0" i="0" u="none" strike="noStrike" kern="1200" dirty="0">
                          <a:solidFill>
                            <a:srgbClr val="000000"/>
                          </a:solidFill>
                          <a:effectLst/>
                          <a:latin typeface="Times New Roman" panose="02020603050405020304" pitchFamily="18" charset="0"/>
                          <a:ea typeface="+mn-ea"/>
                          <a:cs typeface="+mn-cs"/>
                        </a:rPr>
                        <a:t>107.5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9.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2000" b="0" i="0" u="none" strike="noStrike" dirty="0">
                          <a:solidFill>
                            <a:srgbClr val="000000"/>
                          </a:solidFill>
                          <a:effectLst/>
                          <a:latin typeface="Times New Roman" panose="02020603050405020304" pitchFamily="18" charset="0"/>
                        </a:rPr>
                        <a:t>108.5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66860291"/>
                  </a:ext>
                </a:extLst>
              </a:tr>
            </a:tbl>
          </a:graphicData>
        </a:graphic>
      </p:graphicFrame>
      <p:pic>
        <p:nvPicPr>
          <p:cNvPr id="1026" name="Picture 2" descr="Mua bán Nhà phố thương mại - Shophouse Bình Định mới nhất 5/2023">
            <a:extLst>
              <a:ext uri="{FF2B5EF4-FFF2-40B4-BE49-F238E27FC236}">
                <a16:creationId xmlns:a16="http://schemas.microsoft.com/office/drawing/2014/main" id="{A887CE03-8559-81A5-3548-787EEA0450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9795" y="1770745"/>
            <a:ext cx="5222205" cy="4673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2311740"/>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119846626"/>
              </p:ext>
            </p:extLst>
          </p:nvPr>
        </p:nvGraphicFramePr>
        <p:xfrm>
          <a:off x="349542" y="1872226"/>
          <a:ext cx="5645791" cy="3972272"/>
        </p:xfrm>
        <a:graphic>
          <a:graphicData uri="http://schemas.openxmlformats.org/drawingml/2006/table">
            <a:tbl>
              <a:tblPr firstRow="1" bandRow="1"/>
              <a:tblGrid>
                <a:gridCol w="5645791">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6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50.374 tỷ đồng, tăng 17% so với cùng kỳ</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ể</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dung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ực</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ị</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ê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uô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11,55%;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11,74%;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lưu</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ú</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4,41%;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ă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uố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12,5%...</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2.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pic>
        <p:nvPicPr>
          <p:cNvPr id="3" name="Picture 2" descr="A picture containing text, screenshot, cartoon&#10;&#10;Description automatically generated">
            <a:extLst>
              <a:ext uri="{FF2B5EF4-FFF2-40B4-BE49-F238E27FC236}">
                <a16:creationId xmlns:a16="http://schemas.microsoft.com/office/drawing/2014/main" id="{0B7CA021-09F3-1F33-484C-C8E22C0125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96668" y="2123543"/>
            <a:ext cx="5858693" cy="3248478"/>
          </a:xfrm>
          <a:prstGeom prst="rect">
            <a:avLst/>
          </a:prstGeom>
        </p:spPr>
      </p:pic>
      <p:sp>
        <p:nvSpPr>
          <p:cNvPr id="4" name="TextBox 3">
            <a:extLst>
              <a:ext uri="{FF2B5EF4-FFF2-40B4-BE49-F238E27FC236}">
                <a16:creationId xmlns:a16="http://schemas.microsoft.com/office/drawing/2014/main" id="{64CB236D-9BC2-9A32-B00C-9747EA53D31F}"/>
              </a:ext>
            </a:extLst>
          </p:cNvPr>
          <p:cNvSpPr txBox="1"/>
          <p:nvPr/>
        </p:nvSpPr>
        <p:spPr>
          <a:xfrm>
            <a:off x="1793045" y="1110049"/>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a:t>
            </a:r>
            <a:r>
              <a:rPr lang="en-US" sz="2400" b="1" spc="-20">
                <a:solidFill>
                  <a:srgbClr val="100717"/>
                </a:solidFill>
                <a:latin typeface="Times New Roman" panose="02020603050405020304" pitchFamily="18" charset="0"/>
                <a:cs typeface="Times New Roman" panose="02020603050405020304" pitchFamily="18" charset="0"/>
              </a:rPr>
              <a:t>Tổng mức bán lẻ và doanh thu dịch vụ tiêu dùng</a:t>
            </a:r>
            <a:r>
              <a:rPr lang="vi-VN" sz="2400" b="1">
                <a:latin typeface="+mj-lt"/>
                <a:cs typeface="Arial" panose="020B0604020202020204" pitchFamily="34" charset="0"/>
              </a:rPr>
              <a:t> </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3864172541"/>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9C54BA1-2A4A-3092-6E61-540C9E74E66E}"/>
              </a:ext>
            </a:extLst>
          </p:cNvPr>
          <p:cNvSpPr txBox="1"/>
          <p:nvPr/>
        </p:nvSpPr>
        <p:spPr>
          <a:xfrm>
            <a:off x="1056257" y="968840"/>
            <a:ext cx="10364711" cy="461665"/>
          </a:xfrm>
          <a:prstGeom prst="rect">
            <a:avLst/>
          </a:prstGeom>
          <a:noFill/>
        </p:spPr>
        <p:txBody>
          <a:bodyPr wrap="square">
            <a:spAutoFit/>
          </a:bodyPr>
          <a:lstStyle/>
          <a:p>
            <a:pPr algn="ctr">
              <a:lnSpc>
                <a:spcPct val="100000"/>
              </a:lnSpc>
            </a:pPr>
            <a:r>
              <a:rPr lang="nl-NL" sz="2400" kern="1200">
                <a:solidFill>
                  <a:schemeClr val="dk1"/>
                </a:solidFill>
                <a:effectLst/>
                <a:latin typeface="Times New Roman" panose="02020603050405020304" pitchFamily="18" charset="0"/>
                <a:ea typeface="+mn-ea"/>
                <a:cs typeface="Times New Roman" panose="02020603050405020304" pitchFamily="18" charset="0"/>
              </a:rPr>
              <a:t>Tổng mức bán lẻ hàng hóa và doanh thu dịch vụ tiêu dùng các địa phương</a:t>
            </a:r>
            <a:endParaRPr lang="vi-VN" sz="2400" dirty="0">
              <a:latin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4F17B82E-1B69-F4AD-F096-FABFD39A8027}"/>
              </a:ext>
            </a:extLst>
          </p:cNvPr>
          <p:cNvSpPr txBox="1"/>
          <p:nvPr/>
        </p:nvSpPr>
        <p:spPr>
          <a:xfrm>
            <a:off x="1230982" y="453909"/>
            <a:ext cx="748517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a:t>
            </a:r>
            <a:r>
              <a:rPr lang="en-US" sz="2400" b="1" spc="-20">
                <a:solidFill>
                  <a:srgbClr val="100717"/>
                </a:solidFill>
                <a:latin typeface="Times New Roman" panose="02020603050405020304" pitchFamily="18" charset="0"/>
                <a:cs typeface="Times New Roman" panose="02020603050405020304" pitchFamily="18" charset="0"/>
              </a:rPr>
              <a:t>Tổng mức bán lẻ và doanh thu dịch vụ tiêu dùng</a:t>
            </a:r>
            <a:r>
              <a:rPr lang="vi-VN" sz="2400" b="1" spc="-20">
                <a:solidFill>
                  <a:srgbClr val="100717"/>
                </a:solidFill>
                <a:latin typeface="Times New Roman" panose="02020603050405020304" pitchFamily="18" charset="0"/>
                <a:cs typeface="Times New Roman" panose="02020603050405020304" pitchFamily="18" charset="0"/>
              </a:rPr>
              <a:t> (tt) </a:t>
            </a:r>
            <a:r>
              <a:rPr lang="vi-VN" sz="2400" b="1">
                <a:latin typeface="+mj-lt"/>
                <a:cs typeface="Arial" panose="020B0604020202020204" pitchFamily="34" charset="0"/>
              </a:rPr>
              <a:t> </a:t>
            </a:r>
            <a:endParaRPr lang="vi-VN" sz="2400" b="1" dirty="0">
              <a:latin typeface="+mj-lt"/>
              <a:cs typeface="Arial" panose="020B0604020202020204" pitchFamily="34" charset="0"/>
            </a:endParaRPr>
          </a:p>
        </p:txBody>
      </p:sp>
      <p:graphicFrame>
        <p:nvGraphicFramePr>
          <p:cNvPr id="6" name="Object 5">
            <a:extLst>
              <a:ext uri="{FF2B5EF4-FFF2-40B4-BE49-F238E27FC236}">
                <a16:creationId xmlns:a16="http://schemas.microsoft.com/office/drawing/2014/main" id="{70DD63C3-76F1-35B3-77EC-77EA21D4D2FE}"/>
              </a:ext>
            </a:extLst>
          </p:cNvPr>
          <p:cNvGraphicFramePr>
            <a:graphicFrameLocks noChangeAspect="1"/>
          </p:cNvGraphicFramePr>
          <p:nvPr>
            <p:extLst>
              <p:ext uri="{D42A27DB-BD31-4B8C-83A1-F6EECF244321}">
                <p14:modId xmlns:p14="http://schemas.microsoft.com/office/powerpoint/2010/main" val="2002276985"/>
              </p:ext>
            </p:extLst>
          </p:nvPr>
        </p:nvGraphicFramePr>
        <p:xfrm>
          <a:off x="1408870" y="1574579"/>
          <a:ext cx="9223258" cy="4905013"/>
        </p:xfrm>
        <a:graphic>
          <a:graphicData uri="http://schemas.openxmlformats.org/presentationml/2006/ole">
            <mc:AlternateContent xmlns:mc="http://schemas.openxmlformats.org/markup-compatibility/2006">
              <mc:Choice xmlns:v="urn:schemas-microsoft-com:vml" Requires="v">
                <p:oleObj name="Worksheet" r:id="rId2" imgW="9581642" imgH="5096256" progId="Excel.Sheet.12">
                  <p:embed/>
                </p:oleObj>
              </mc:Choice>
              <mc:Fallback>
                <p:oleObj name="Worksheet" r:id="rId2" imgW="9581642" imgH="5096256" progId="Excel.Sheet.12">
                  <p:embed/>
                  <p:pic>
                    <p:nvPicPr>
                      <p:cNvPr id="6" name="Object 5">
                        <a:extLst>
                          <a:ext uri="{FF2B5EF4-FFF2-40B4-BE49-F238E27FC236}">
                            <a16:creationId xmlns:a16="http://schemas.microsoft.com/office/drawing/2014/main" id="{70DD63C3-76F1-35B3-77EC-77EA21D4D2FE}"/>
                          </a:ext>
                        </a:extLst>
                      </p:cNvPr>
                      <p:cNvPicPr/>
                      <p:nvPr/>
                    </p:nvPicPr>
                    <p:blipFill>
                      <a:blip r:embed="rId3"/>
                      <a:stretch>
                        <a:fillRect/>
                      </a:stretch>
                    </p:blipFill>
                    <p:spPr>
                      <a:xfrm>
                        <a:off x="1408870" y="1574579"/>
                        <a:ext cx="9223258" cy="4905013"/>
                      </a:xfrm>
                      <a:prstGeom prst="rect">
                        <a:avLst/>
                      </a:prstGeom>
                    </p:spPr>
                  </p:pic>
                </p:oleObj>
              </mc:Fallback>
            </mc:AlternateContent>
          </a:graphicData>
        </a:graphic>
      </p:graphicFrame>
    </p:spTree>
    <p:extLst>
      <p:ext uri="{BB962C8B-B14F-4D97-AF65-F5344CB8AC3E}">
        <p14:creationId xmlns:p14="http://schemas.microsoft.com/office/powerpoint/2010/main" val="3587433405"/>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365912549"/>
              </p:ext>
            </p:extLst>
          </p:nvPr>
        </p:nvGraphicFramePr>
        <p:xfrm>
          <a:off x="442941" y="782684"/>
          <a:ext cx="11146170" cy="5585286"/>
        </p:xfrm>
        <a:graphic>
          <a:graphicData uri="http://schemas.openxmlformats.org/drawingml/2006/table">
            <a:tbl>
              <a:tblPr firstRow="1" bandRow="1"/>
              <a:tblGrid>
                <a:gridCol w="11146170">
                  <a:extLst>
                    <a:ext uri="{9D8B030D-6E8A-4147-A177-3AD203B41FA5}">
                      <a16:colId xmlns:a16="http://schemas.microsoft.com/office/drawing/2014/main" val="3655493598"/>
                    </a:ext>
                  </a:extLst>
                </a:gridCol>
              </a:tblGrid>
              <a:tr h="558528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1" kern="1200" baseline="0" dirty="0">
                          <a:solidFill>
                            <a:schemeClr val="dk1"/>
                          </a:solidFill>
                          <a:effectLst/>
                          <a:latin typeface="Times New Roman" panose="02020603050405020304" pitchFamily="18" charset="0"/>
                          <a:ea typeface="+mn-ea"/>
                          <a:cs typeface="Times New Roman" panose="02020603050405020304" pitchFamily="18" charset="0"/>
                        </a:rPr>
                        <a:t>Hoạt động hỗ trợ tiêu thụ nông sản: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Thời gian qua, Sở Công Thương đã phối hợp với Sở Nông nghiệp và Phát triển nông thôn, Sở Khoa học và Công nghệ tổ chức làm việc với một số địa phương nắm thông tin về tình hình sản xuất, thu hoạch các sản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phẩm để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làm việc với các đơn vị thu mua trong nước; đã làm việc với một số Công ty để xuất khẩu thí điểm một số nông sản chủ lực của tỉnh, trong đó ưu tiên các mặt hàng ớt, xoài, bưởi, dừa,...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Tổ chức thành công Phiên chợ Tuần hàng nông sản và Hội nghị kết nối thu mua giữa các nhà hàng,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khách sạn... với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các đơn vị sản xuất, cung ứng sản phẩm nông nghiệp trên địa bàn tỉnh, qua đó giúp các doanh nghiệp, các hộ kinh doanh, HTX ký kết tiêu thụ sản phẩm nông sả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Tổ chức các hoạt động xúc tiến thương mại như: Hội nghị kết nối giao thương giữa nhà cung cấp khu vực miền Trung - Tây nguyên với các doanh nghiệp xuất khẩu và tổ chức xúc tiến thương mại tổ chức tại thành phố Đà Nẵng; phối hợp với Sở Công Thương thành phố Hồ Chí Minh tổ chức Hội nghị kết nối cung cầu hàng hóa giữa các doanh nghiệp phân phối lớn của 02 địa phương.</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ăng cường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t</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uyên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truyền, hỗ trợ tiêu thụ các sản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phẩm OCOP;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ây dựng cẩm nang giới thiệu, quảng bá các sản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phẩm OCOP để trình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chiếu tại các Hội chợ triển lãm trong và ngoài nước</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000" b="0" kern="1200" baseline="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8CB6B711-2AB0-F2FE-B8B8-E6D6581A7BE7}"/>
              </a:ext>
            </a:extLst>
          </p:cNvPr>
          <p:cNvSpPr txBox="1"/>
          <p:nvPr/>
        </p:nvSpPr>
        <p:spPr>
          <a:xfrm>
            <a:off x="1046424" y="321019"/>
            <a:ext cx="748517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Hoạt động hỗ trợ tiêu thụ nông sản</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5954514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sky, water, boat, outdoor&#10;&#10;Description automatically generated">
            <a:extLst>
              <a:ext uri="{FF2B5EF4-FFF2-40B4-BE49-F238E27FC236}">
                <a16:creationId xmlns:a16="http://schemas.microsoft.com/office/drawing/2014/main" id="{02B9306E-529A-4AF8-06B9-34FAF79AB840}"/>
              </a:ext>
            </a:extLst>
          </p:cNvPr>
          <p:cNvPicPr>
            <a:picLocks noChangeAspect="1"/>
          </p:cNvPicPr>
          <p:nvPr/>
        </p:nvPicPr>
        <p:blipFill>
          <a:blip r:embed="rId3"/>
          <a:stretch>
            <a:fillRect/>
          </a:stretch>
        </p:blipFill>
        <p:spPr>
          <a:xfrm>
            <a:off x="620343" y="1456235"/>
            <a:ext cx="5572989" cy="4891189"/>
          </a:xfrm>
          <a:prstGeom prst="rect">
            <a:avLst/>
          </a:prstGeom>
          <a:ln>
            <a:noFill/>
          </a:ln>
          <a:effectLst>
            <a:softEdge rad="112500"/>
          </a:effectLst>
        </p:spPr>
      </p:pic>
      <p:grpSp>
        <p:nvGrpSpPr>
          <p:cNvPr id="4" name="Group 3">
            <a:extLst>
              <a:ext uri="{FF2B5EF4-FFF2-40B4-BE49-F238E27FC236}">
                <a16:creationId xmlns:a16="http://schemas.microsoft.com/office/drawing/2014/main" id="{DD6FE299-8573-1A4B-3C63-313A94891E7F}"/>
              </a:ext>
            </a:extLst>
          </p:cNvPr>
          <p:cNvGrpSpPr>
            <a:grpSpLocks/>
          </p:cNvGrpSpPr>
          <p:nvPr/>
        </p:nvGrpSpPr>
        <p:grpSpPr>
          <a:xfrm>
            <a:off x="8504536" y="1627347"/>
            <a:ext cx="3425432" cy="1866883"/>
            <a:chOff x="5344188" y="615842"/>
            <a:chExt cx="2327323" cy="954635"/>
          </a:xfrm>
        </p:grpSpPr>
        <p:grpSp>
          <p:nvGrpSpPr>
            <p:cNvPr id="28" name="Group 27">
              <a:extLst>
                <a:ext uri="{FF2B5EF4-FFF2-40B4-BE49-F238E27FC236}">
                  <a16:creationId xmlns:a16="http://schemas.microsoft.com/office/drawing/2014/main"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27" name="Rectangle 26">
                <a:extLst>
                  <a:ext uri="{FF2B5EF4-FFF2-40B4-BE49-F238E27FC236}">
                    <a16:creationId xmlns:a16="http://schemas.microsoft.com/office/drawing/2014/main"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9" name="Google Shape;2624;p37">
              <a:extLst>
                <a:ext uri="{FF2B5EF4-FFF2-40B4-BE49-F238E27FC236}">
                  <a16:creationId xmlns:a16="http://schemas.microsoft.com/office/drawing/2014/main"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720</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dirty="0">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dirty="0">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5,6 %</a:t>
              </a:r>
              <a:endParaRPr lang="en-US" sz="2133"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id="{E56EEAD7-BA7C-5393-023B-57E291DB0A7A}"/>
              </a:ext>
            </a:extLst>
          </p:cNvPr>
          <p:cNvGrpSpPr>
            <a:grpSpLocks/>
          </p:cNvGrpSpPr>
          <p:nvPr/>
        </p:nvGrpSpPr>
        <p:grpSpPr>
          <a:xfrm>
            <a:off x="8480475" y="4068661"/>
            <a:ext cx="3431892" cy="2103099"/>
            <a:chOff x="5346834" y="2051588"/>
            <a:chExt cx="2324678" cy="934772"/>
          </a:xfrm>
        </p:grpSpPr>
        <p:grpSp>
          <p:nvGrpSpPr>
            <p:cNvPr id="40" name="Group 39">
              <a:extLst>
                <a:ext uri="{FF2B5EF4-FFF2-40B4-BE49-F238E27FC236}">
                  <a16:creationId xmlns:a16="http://schemas.microsoft.com/office/drawing/2014/main"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42" name="Rectangle 41">
                <a:extLst>
                  <a:ext uri="{FF2B5EF4-FFF2-40B4-BE49-F238E27FC236}">
                    <a16:creationId xmlns:a16="http://schemas.microsoft.com/office/drawing/2014/main"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 name="Google Shape;2624;p37">
              <a:extLst>
                <a:ext uri="{FF2B5EF4-FFF2-40B4-BE49-F238E27FC236}">
                  <a16:creationId xmlns:a16="http://schemas.microsoft.com/office/drawing/2014/main"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190</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sz="1200"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8%</a:t>
              </a:r>
              <a:endParaRPr lang="en-US" sz="2400"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id="{1E5AC274-1FDC-ED10-46A7-61EEC50075A0}"/>
              </a:ext>
            </a:extLst>
          </p:cNvPr>
          <p:cNvPicPr>
            <a:picLocks noChangeAspect="1"/>
          </p:cNvPicPr>
          <p:nvPr/>
        </p:nvPicPr>
        <p:blipFill>
          <a:blip r:embed="rId4"/>
          <a:stretch>
            <a:fillRect/>
          </a:stretch>
        </p:blipFill>
        <p:spPr>
          <a:xfrm>
            <a:off x="6407240" y="4021736"/>
            <a:ext cx="1865786" cy="20204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5FCB53AA-6BFD-342E-CE53-282CBE00B9C3}"/>
              </a:ext>
            </a:extLst>
          </p:cNvPr>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6405187" y="1627347"/>
            <a:ext cx="1863217" cy="18381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903B4ABF-B441-1F98-8475-ADC2F5108218}"/>
              </a:ext>
            </a:extLst>
          </p:cNvPr>
          <p:cNvSpPr txBox="1"/>
          <p:nvPr/>
        </p:nvSpPr>
        <p:spPr>
          <a:xfrm>
            <a:off x="735110" y="217768"/>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3</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sp>
        <p:nvSpPr>
          <p:cNvPr id="5" name="TextBox 4">
            <a:extLst>
              <a:ext uri="{FF2B5EF4-FFF2-40B4-BE49-F238E27FC236}">
                <a16:creationId xmlns:a16="http://schemas.microsoft.com/office/drawing/2014/main" id="{C2599812-EB40-ACB8-B7E9-854982AAC6B7}"/>
              </a:ext>
            </a:extLst>
          </p:cNvPr>
          <p:cNvSpPr txBox="1"/>
          <p:nvPr/>
        </p:nvSpPr>
        <p:spPr>
          <a:xfrm>
            <a:off x="1715152" y="756068"/>
            <a:ext cx="6796060"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hập</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menu, number&#10;&#10;Description automatically generated">
            <a:extLst>
              <a:ext uri="{FF2B5EF4-FFF2-40B4-BE49-F238E27FC236}">
                <a16:creationId xmlns:a16="http://schemas.microsoft.com/office/drawing/2014/main" id="{D7D192ED-A090-3C6F-3CA7-2C3CDBC37F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3997" y="397146"/>
            <a:ext cx="6300866" cy="6228506"/>
          </a:xfrm>
          <a:prstGeom prst="rect">
            <a:avLst/>
          </a:prstGeom>
        </p:spPr>
      </p:pic>
      <p:sp>
        <p:nvSpPr>
          <p:cNvPr id="3" name="TextBox 2">
            <a:extLst>
              <a:ext uri="{FF2B5EF4-FFF2-40B4-BE49-F238E27FC236}">
                <a16:creationId xmlns:a16="http://schemas.microsoft.com/office/drawing/2014/main" id="{2140C7B0-05C1-C164-779C-CE0FEAAA409A}"/>
              </a:ext>
            </a:extLst>
          </p:cNvPr>
          <p:cNvSpPr txBox="1"/>
          <p:nvPr/>
        </p:nvSpPr>
        <p:spPr>
          <a:xfrm>
            <a:off x="684111" y="724061"/>
            <a:ext cx="3075487" cy="461665"/>
          </a:xfrm>
          <a:prstGeom prst="rect">
            <a:avLst/>
          </a:prstGeom>
          <a:noFill/>
        </p:spPr>
        <p:txBody>
          <a:bodyPr wrap="square">
            <a:spAutoFit/>
          </a:bodyPr>
          <a:lstStyle/>
          <a:p>
            <a:pPr>
              <a:lnSpc>
                <a:spcPct val="100000"/>
              </a:lnSpc>
            </a:pPr>
            <a:r>
              <a:rPr lang="en-US" sz="2400" b="1" spc="-20" dirty="0">
                <a:solidFill>
                  <a:srgbClr val="100717"/>
                </a:solidFill>
                <a:latin typeface="Times New Roman" panose="02020603050405020304" pitchFamily="18" charset="0"/>
                <a:cs typeface="Times New Roman" panose="02020603050405020304" pitchFamily="18" charset="0"/>
              </a:rPr>
              <a:t>b)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FF75C5B9-FA20-47F5-0041-B54776507D44}"/>
              </a:ext>
            </a:extLst>
          </p:cNvPr>
          <p:cNvGraphicFramePr>
            <a:graphicFrameLocks noGrp="1"/>
          </p:cNvGraphicFramePr>
          <p:nvPr>
            <p:extLst>
              <p:ext uri="{D42A27DB-BD31-4B8C-83A1-F6EECF244321}">
                <p14:modId xmlns:p14="http://schemas.microsoft.com/office/powerpoint/2010/main" val="393901870"/>
              </p:ext>
            </p:extLst>
          </p:nvPr>
        </p:nvGraphicFramePr>
        <p:xfrm>
          <a:off x="327172" y="1155048"/>
          <a:ext cx="5211900" cy="5185448"/>
        </p:xfrm>
        <a:graphic>
          <a:graphicData uri="http://schemas.openxmlformats.org/drawingml/2006/table">
            <a:tbl>
              <a:tblPr firstRow="1" bandRow="1"/>
              <a:tblGrid>
                <a:gridCol w="5211900">
                  <a:extLst>
                    <a:ext uri="{9D8B030D-6E8A-4147-A177-3AD203B41FA5}">
                      <a16:colId xmlns:a16="http://schemas.microsoft.com/office/drawing/2014/main" val="3655493598"/>
                    </a:ext>
                  </a:extLst>
                </a:gridCol>
              </a:tblGrid>
              <a:tr h="46672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dirty="0">
                          <a:solidFill>
                            <a:schemeClr val="dk1"/>
                          </a:solidFill>
                          <a:effectLst/>
                          <a:latin typeface="Times New Roman" panose="02020603050405020304" pitchFamily="18" charset="0"/>
                          <a:ea typeface="+mn-ea"/>
                          <a:cs typeface="Times New Roman" panose="02020603050405020304" pitchFamily="18" charset="0"/>
                        </a:rPr>
                        <a:t>Hoạ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ộng xuất khẩu tương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đối khó khăn do giá các loại nguyên liệu tiếp tục tăng cao, tình hình lạm phát cao tại các nước, việc đứt gãy chuỗi cung ứng trong thời gian qua đã ảnh hưởng tới các hoạt động xuất nhập khẩu trên địa bàn tỉn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X</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uất khẩu gặp khó khăn do tình hình thế giới phức tạp, khó lường dẫn đến suy giảm tăng trưởng kinh tế toàn cầu; người tiêu dùng tại các thị trường xuất khẩu quen thuộc thắt chặt chi tiêu dẫn đến giá trị xuất khẩu giảm 15,6%</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928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2588874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481A9E6-F996-3FB7-C7FC-B00EAD0BEC37}"/>
              </a:ext>
            </a:extLst>
          </p:cNvPr>
          <p:cNvSpPr txBox="1"/>
          <p:nvPr/>
        </p:nvSpPr>
        <p:spPr>
          <a:xfrm>
            <a:off x="594029" y="249334"/>
            <a:ext cx="8457691" cy="461665"/>
          </a:xfrm>
          <a:prstGeom prst="rect">
            <a:avLst/>
          </a:prstGeom>
          <a:noFill/>
        </p:spPr>
        <p:txBody>
          <a:bodyPr wrap="square">
            <a:spAutoFit/>
          </a:bodyPr>
          <a:lstStyle/>
          <a:p>
            <a:pPr>
              <a:lnSpc>
                <a:spcPct val="100000"/>
              </a:lnSpc>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X</a:t>
            </a:r>
            <a:r>
              <a:rPr lang="en-US" sz="2400" b="1">
                <a:latin typeface="Times New Roman" panose="02020603050405020304" pitchFamily="18" charset="0"/>
                <a:cs typeface="Times New Roman" panose="02020603050405020304" pitchFamily="18" charset="0"/>
              </a:rPr>
              <a:t>uất khẩu (tt):</a:t>
            </a:r>
            <a:endParaRPr lang="vi-VN" sz="2400" b="1"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9EEAB35B-95EE-9E95-CA06-D08BE6065423}"/>
              </a:ext>
            </a:extLst>
          </p:cNvPr>
          <p:cNvSpPr txBox="1"/>
          <p:nvPr/>
        </p:nvSpPr>
        <p:spPr>
          <a:xfrm>
            <a:off x="3841968" y="642949"/>
            <a:ext cx="84576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Số liệu chia </a:t>
            </a:r>
            <a:r>
              <a:rPr lang="en-US" sz="2400" b="1" err="1">
                <a:latin typeface="Times New Roman" panose="02020603050405020304" pitchFamily="18" charset="0"/>
                <a:cs typeface="Times New Roman" panose="02020603050405020304" pitchFamily="18" charset="0"/>
              </a:rPr>
              <a:t>theo</a:t>
            </a:r>
            <a:r>
              <a:rPr lang="en-US" sz="2400" b="1">
                <a:latin typeface="Times New Roman" panose="02020603050405020304" pitchFamily="18" charset="0"/>
                <a:cs typeface="Times New Roman" panose="02020603050405020304" pitchFamily="18" charset="0"/>
              </a:rPr>
              <a:t> từng địa phương</a:t>
            </a:r>
            <a:endParaRPr lang="vi-VN" sz="2400" b="1" dirty="0">
              <a:latin typeface="Times New Roman" panose="02020603050405020304" pitchFamily="18" charset="0"/>
              <a:cs typeface="Times New Roman" panose="02020603050405020304" pitchFamily="18" charset="0"/>
            </a:endParaRPr>
          </a:p>
        </p:txBody>
      </p:sp>
      <p:graphicFrame>
        <p:nvGraphicFramePr>
          <p:cNvPr id="5" name="Object 4">
            <a:extLst>
              <a:ext uri="{FF2B5EF4-FFF2-40B4-BE49-F238E27FC236}">
                <a16:creationId xmlns:a16="http://schemas.microsoft.com/office/drawing/2014/main" id="{6D779EB1-37D9-23C5-2512-84466D09452B}"/>
              </a:ext>
            </a:extLst>
          </p:cNvPr>
          <p:cNvGraphicFramePr>
            <a:graphicFrameLocks noChangeAspect="1"/>
          </p:cNvGraphicFramePr>
          <p:nvPr>
            <p:extLst>
              <p:ext uri="{D42A27DB-BD31-4B8C-83A1-F6EECF244321}">
                <p14:modId xmlns:p14="http://schemas.microsoft.com/office/powerpoint/2010/main" val="1579940992"/>
              </p:ext>
            </p:extLst>
          </p:nvPr>
        </p:nvGraphicFramePr>
        <p:xfrm>
          <a:off x="594028" y="1152938"/>
          <a:ext cx="10741379" cy="5467350"/>
        </p:xfrm>
        <a:graphic>
          <a:graphicData uri="http://schemas.openxmlformats.org/presentationml/2006/ole">
            <mc:AlternateContent xmlns:mc="http://schemas.openxmlformats.org/markup-compatibility/2006">
              <mc:Choice xmlns:v="urn:schemas-microsoft-com:vml" Requires="v">
                <p:oleObj name="Worksheet" r:id="rId2" imgW="9010800" imgH="5467217" progId="Excel.Sheet.12">
                  <p:embed/>
                </p:oleObj>
              </mc:Choice>
              <mc:Fallback>
                <p:oleObj name="Worksheet" r:id="rId2" imgW="9010800" imgH="5467217" progId="Excel.Sheet.12">
                  <p:embed/>
                  <p:pic>
                    <p:nvPicPr>
                      <p:cNvPr id="5" name="Object 4">
                        <a:extLst>
                          <a:ext uri="{FF2B5EF4-FFF2-40B4-BE49-F238E27FC236}">
                            <a16:creationId xmlns:a16="http://schemas.microsoft.com/office/drawing/2014/main" id="{6D779EB1-37D9-23C5-2512-84466D09452B}"/>
                          </a:ext>
                        </a:extLst>
                      </p:cNvPr>
                      <p:cNvPicPr/>
                      <p:nvPr/>
                    </p:nvPicPr>
                    <p:blipFill>
                      <a:blip r:embed="rId3"/>
                      <a:stretch>
                        <a:fillRect/>
                      </a:stretch>
                    </p:blipFill>
                    <p:spPr>
                      <a:xfrm>
                        <a:off x="594028" y="1152938"/>
                        <a:ext cx="10741379" cy="5467350"/>
                      </a:xfrm>
                      <a:prstGeom prst="rect">
                        <a:avLst/>
                      </a:prstGeom>
                    </p:spPr>
                  </p:pic>
                </p:oleObj>
              </mc:Fallback>
            </mc:AlternateContent>
          </a:graphicData>
        </a:graphic>
      </p:graphicFrame>
    </p:spTree>
    <p:extLst>
      <p:ext uri="{BB962C8B-B14F-4D97-AF65-F5344CB8AC3E}">
        <p14:creationId xmlns:p14="http://schemas.microsoft.com/office/powerpoint/2010/main" val="12971803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2326" y="205739"/>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3" name="Object 2">
            <a:extLst>
              <a:ext uri="{FF2B5EF4-FFF2-40B4-BE49-F238E27FC236}">
                <a16:creationId xmlns:a16="http://schemas.microsoft.com/office/drawing/2014/main" id="{5E56084D-AF42-024A-D0D9-5334B5F27471}"/>
              </a:ext>
            </a:extLst>
          </p:cNvPr>
          <p:cNvGraphicFramePr>
            <a:graphicFrameLocks noChangeAspect="1"/>
          </p:cNvGraphicFramePr>
          <p:nvPr>
            <p:extLst>
              <p:ext uri="{D42A27DB-BD31-4B8C-83A1-F6EECF244321}">
                <p14:modId xmlns:p14="http://schemas.microsoft.com/office/powerpoint/2010/main" val="1396103699"/>
              </p:ext>
            </p:extLst>
          </p:nvPr>
        </p:nvGraphicFramePr>
        <p:xfrm>
          <a:off x="683965" y="966045"/>
          <a:ext cx="10991850" cy="5429250"/>
        </p:xfrm>
        <a:graphic>
          <a:graphicData uri="http://schemas.openxmlformats.org/presentationml/2006/ole">
            <mc:AlternateContent xmlns:mc="http://schemas.openxmlformats.org/markup-compatibility/2006">
              <mc:Choice xmlns:v="urn:schemas-microsoft-com:vml" Requires="v">
                <p:oleObj name="Worksheet" r:id="rId3" imgW="10991880" imgH="5429090" progId="Excel.Sheet.12">
                  <p:embed/>
                </p:oleObj>
              </mc:Choice>
              <mc:Fallback>
                <p:oleObj name="Worksheet" r:id="rId3" imgW="10991880" imgH="5429090" progId="Excel.Sheet.12">
                  <p:embed/>
                  <p:pic>
                    <p:nvPicPr>
                      <p:cNvPr id="3" name="Object 2">
                        <a:extLst>
                          <a:ext uri="{FF2B5EF4-FFF2-40B4-BE49-F238E27FC236}">
                            <a16:creationId xmlns:a16="http://schemas.microsoft.com/office/drawing/2014/main" id="{5E56084D-AF42-024A-D0D9-5334B5F27471}"/>
                          </a:ext>
                        </a:extLst>
                      </p:cNvPr>
                      <p:cNvPicPr/>
                      <p:nvPr/>
                    </p:nvPicPr>
                    <p:blipFill>
                      <a:blip r:embed="rId4"/>
                      <a:stretch>
                        <a:fillRect/>
                      </a:stretch>
                    </p:blipFill>
                    <p:spPr>
                      <a:xfrm>
                        <a:off x="683965" y="966045"/>
                        <a:ext cx="10991850" cy="5429250"/>
                      </a:xfrm>
                      <a:prstGeom prst="rect">
                        <a:avLst/>
                      </a:prstGeom>
                    </p:spPr>
                  </p:pic>
                </p:oleObj>
              </mc:Fallback>
            </mc:AlternateContent>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dirty="0">
                <a:solidFill>
                  <a:srgbClr val="100717"/>
                </a:solidFill>
                <a:latin typeface="Times New Roman" panose="02020603050405020304" pitchFamily="18" charset="0"/>
                <a:cs typeface="Times New Roman" panose="02020603050405020304" pitchFamily="18" charset="0"/>
              </a:rPr>
              <a:t>Du </a:t>
            </a:r>
            <a:r>
              <a:rPr lang="en-US" sz="2800" b="1" spc="-20" dirty="0" err="1">
                <a:solidFill>
                  <a:srgbClr val="100717"/>
                </a:solidFill>
                <a:latin typeface="Times New Roman" panose="02020603050405020304" pitchFamily="18" charset="0"/>
                <a:cs typeface="Times New Roman" panose="02020603050405020304" pitchFamily="18" charset="0"/>
              </a:rPr>
              <a:t>lịch</a:t>
            </a:r>
            <a:endParaRPr lang="en-US" sz="2800" b="1" spc="-20" dirty="0">
              <a:solidFill>
                <a:srgbClr val="100717"/>
              </a:solidFill>
              <a:latin typeface="Times New Roman" panose="02020603050405020304" pitchFamily="18" charset="0"/>
              <a:cs typeface="Times New Roman" panose="02020603050405020304" pitchFamily="18" charset="0"/>
            </a:endParaRPr>
          </a:p>
        </p:txBody>
      </p:sp>
      <p:pic>
        <p:nvPicPr>
          <p:cNvPr id="7" name="Picture 6" descr="A group of hot air balloons&#10;&#10;Description automatically generated with medium confidence">
            <a:extLst>
              <a:ext uri="{FF2B5EF4-FFF2-40B4-BE49-F238E27FC236}">
                <a16:creationId xmlns:a16="http://schemas.microsoft.com/office/drawing/2014/main" id="{D950AC00-2D36-8436-B3E5-8F968D8708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7420" y="830510"/>
            <a:ext cx="4712725" cy="2650908"/>
          </a:xfrm>
          <a:prstGeom prst="rect">
            <a:avLst/>
          </a:prstGeom>
        </p:spPr>
      </p:pic>
      <p:pic>
        <p:nvPicPr>
          <p:cNvPr id="14" name="Picture 13" descr="A crowd of people in a stadium&#10;&#10;Description automatically generated with low confidence">
            <a:extLst>
              <a:ext uri="{FF2B5EF4-FFF2-40B4-BE49-F238E27FC236}">
                <a16:creationId xmlns:a16="http://schemas.microsoft.com/office/drawing/2014/main" id="{590A3D13-B1C7-D1CF-5F2E-1F4ED31084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19" y="3697539"/>
            <a:ext cx="4712725" cy="2885638"/>
          </a:xfrm>
          <a:prstGeom prst="rect">
            <a:avLst/>
          </a:prstGeom>
        </p:spPr>
      </p:pic>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896810307"/>
              </p:ext>
            </p:extLst>
          </p:nvPr>
        </p:nvGraphicFramePr>
        <p:xfrm>
          <a:off x="486561" y="1154329"/>
          <a:ext cx="6418646" cy="4549341"/>
        </p:xfrm>
        <a:graphic>
          <a:graphicData uri="http://schemas.openxmlformats.org/drawingml/2006/table">
            <a:tbl>
              <a:tblPr firstRow="1" bandRow="1"/>
              <a:tblGrid>
                <a:gridCol w="6418646">
                  <a:extLst>
                    <a:ext uri="{9D8B030D-6E8A-4147-A177-3AD203B41FA5}">
                      <a16:colId xmlns:a16="http://schemas.microsoft.com/office/drawing/2014/main" val="3655493598"/>
                    </a:ext>
                  </a:extLst>
                </a:gridCol>
              </a:tblGrid>
              <a:tr h="22896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Ước 6 tháng đầu năm, ngành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lịch ước đón được trên 2,7 triệu lượt khách, tăng 20,6%; doanh thu du lịch đạt 7.607 tỷ đồng, tăng 33,1% so với cùng kỳ</a:t>
                      </a: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Đã tổ chức Hội nghị Quảng bá, xúc tiến du lịch giữa Bình Định và TP Hồ Chí Minh; Ký kết chương trình kích cầu du lịch Bình Định năm 2023 với VietnamAirlines, Bamboo Airways, Viettravel Airlines, tổ chức nhiều hoạt động văn hóa – nghệ thuật và thể dục – thể thao, thu hút đông đảo Nhân dân và du khách như: Lễ hội du lịch Bình Định “Quy Nhơn – Thiên đường biển”, Lễ hội Khinh khí cầu; Giải chạy VnExpress Marathon Quy Nhơn 2023...</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rong các tháng đầu năm đã tổ chức hơn 80 hội nghị, hội thảo thu hút trên 16.000 lượt khách</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028050016"/>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565,4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42,9%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23,3%</a:t>
            </a:r>
            <a:endParaRPr lang="en-US" sz="2400" b="1" dirty="0">
              <a:solidFill>
                <a:srgbClr val="C00000"/>
              </a:solidFill>
              <a:latin typeface="Times New Roman" panose="02020603050405020304" pitchFamily="18" charset="0"/>
              <a:cs typeface="Times New Roman" panose="02020603050405020304" pitchFamily="18" charset="0"/>
            </a:endParaRP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673486" y="3077662"/>
            <a:ext cx="4661921"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1.730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31,5%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49,1%</a:t>
            </a:r>
            <a:endParaRPr lang="en-US" sz="2400" b="1" dirty="0">
              <a:solidFill>
                <a:srgbClr val="C00000"/>
              </a:solidFill>
              <a:latin typeface="Times New Roman" panose="02020603050405020304" pitchFamily="18" charset="0"/>
              <a:cs typeface="Times New Roman" panose="02020603050405020304" pitchFamily="18" charset="0"/>
            </a:endParaRP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5.722,7 tỷ </a:t>
            </a:r>
            <a:r>
              <a:rPr lang="en-US" sz="2200" b="1" dirty="0" err="1">
                <a:solidFill>
                  <a:srgbClr val="C00000"/>
                </a:solidFill>
                <a:latin typeface="Times New Roman" panose="02020603050405020304" pitchFamily="18" charset="0"/>
                <a:cs typeface="Times New Roman" panose="02020603050405020304" pitchFamily="18" charset="0"/>
              </a:rPr>
              <a:t>đồng</a:t>
            </a:r>
            <a:r>
              <a:rPr lang="en-US" sz="2200" b="1" dirty="0">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41,9% </a:t>
            </a:r>
            <a:r>
              <a:rPr lang="en-US" b="1" dirty="0" err="1">
                <a:solidFill>
                  <a:srgbClr val="C00000"/>
                </a:solidFill>
                <a:latin typeface="Times New Roman" panose="02020603050405020304" pitchFamily="18" charset="0"/>
                <a:cs typeface="Times New Roman" panose="02020603050405020304" pitchFamily="18" charset="0"/>
              </a:rPr>
              <a:t>dự</a:t>
            </a:r>
            <a:r>
              <a:rPr lang="en-US" b="1" dirty="0">
                <a:solidFill>
                  <a:srgbClr val="C00000"/>
                </a:solidFill>
                <a:latin typeface="Times New Roman" panose="02020603050405020304" pitchFamily="18" charset="0"/>
                <a:cs typeface="Times New Roman" panose="02020603050405020304" pitchFamily="18" charset="0"/>
              </a:rPr>
              <a:t> </a:t>
            </a:r>
            <a:r>
              <a:rPr lang="en-US" b="1" dirty="0" err="1">
                <a:solidFill>
                  <a:srgbClr val="C00000"/>
                </a:solidFill>
                <a:latin typeface="Times New Roman" panose="02020603050405020304" pitchFamily="18" charset="0"/>
                <a:cs typeface="Times New Roman" panose="02020603050405020304" pitchFamily="18" charset="0"/>
              </a:rPr>
              <a:t>toán</a:t>
            </a:r>
            <a:endParaRPr lang="en-US" b="1" dirty="0">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24,8%</a:t>
            </a:r>
            <a:endParaRPr lang="en-US" b="1" dirty="0">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80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28%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1,5%</a:t>
            </a:r>
            <a:endParaRPr lang="en-US" sz="2400" b="1" dirty="0">
              <a:solidFill>
                <a:srgbClr val="C00000"/>
              </a:solidFill>
              <a:latin typeface="Times New Roman" panose="02020603050405020304" pitchFamily="18" charset="0"/>
              <a:cs typeface="Times New Roman" panose="02020603050405020304" pitchFamily="18" charset="0"/>
            </a:endParaRPr>
          </a:p>
        </p:txBody>
      </p:sp>
      <p:sp>
        <p:nvSpPr>
          <p:cNvPr id="19" name="Arrow: Down 18">
            <a:extLst>
              <a:ext uri="{FF2B5EF4-FFF2-40B4-BE49-F238E27FC236}">
                <a16:creationId xmlns:a16="http://schemas.microsoft.com/office/drawing/2014/main" id="{122A9A1C-AFFE-3821-B2D0-B1BF037AF2EA}"/>
              </a:ext>
            </a:extLst>
          </p:cNvPr>
          <p:cNvSpPr/>
          <p:nvPr/>
        </p:nvSpPr>
        <p:spPr>
          <a:xfrm>
            <a:off x="8416033" y="2066074"/>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0" name="Arrow: Down 19">
            <a:extLst>
              <a:ext uri="{FF2B5EF4-FFF2-40B4-BE49-F238E27FC236}">
                <a16:creationId xmlns:a16="http://schemas.microsoft.com/office/drawing/2014/main" id="{9EFE970E-0B98-B556-3A4B-E26C7CAD10CA}"/>
              </a:ext>
            </a:extLst>
          </p:cNvPr>
          <p:cNvSpPr/>
          <p:nvPr/>
        </p:nvSpPr>
        <p:spPr>
          <a:xfrm>
            <a:off x="8102699" y="5108088"/>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dirty="0" err="1">
                <a:solidFill>
                  <a:srgbClr val="002060"/>
                </a:solidFill>
                <a:latin typeface="Times New Roman" panose="02020603050405020304" pitchFamily="18" charset="0"/>
                <a:cs typeface="Times New Roman" panose="02020603050405020304" pitchFamily="18" charset="0"/>
              </a:rPr>
              <a:t>Tổng</a:t>
            </a:r>
            <a:r>
              <a:rPr lang="en-US" sz="2400" b="1" dirty="0">
                <a:solidFill>
                  <a:srgbClr val="002060"/>
                </a:solidFill>
                <a:latin typeface="Times New Roman" panose="02020603050405020304" pitchFamily="18" charset="0"/>
                <a:cs typeface="Times New Roman" panose="02020603050405020304" pitchFamily="18" charset="0"/>
              </a:rPr>
              <a:t> chi </a:t>
            </a:r>
            <a:r>
              <a:rPr lang="en-US" sz="2400" b="1" dirty="0" err="1">
                <a:solidFill>
                  <a:srgbClr val="002060"/>
                </a:solidFill>
                <a:latin typeface="Times New Roman" panose="02020603050405020304" pitchFamily="18" charset="0"/>
                <a:cs typeface="Times New Roman" panose="02020603050405020304" pitchFamily="18" charset="0"/>
              </a:rPr>
              <a:t>ngân</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sách</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hà</a:t>
            </a:r>
            <a:r>
              <a:rPr lang="en-US" sz="2400" b="1" dirty="0">
                <a:solidFill>
                  <a:srgbClr val="002060"/>
                </a:solidFill>
                <a:latin typeface="Times New Roman" panose="02020603050405020304" pitchFamily="18" charset="0"/>
                <a:cs typeface="Times New Roman" panose="02020603050405020304" pitchFamily="18" charset="0"/>
              </a:rPr>
              <a:t> </a:t>
            </a:r>
            <a:r>
              <a:rPr lang="en-US" sz="2400" b="1" dirty="0"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8.656 </a:t>
            </a:r>
            <a:r>
              <a:rPr lang="en-US" sz="2400" b="1" dirty="0" err="1">
                <a:solidFill>
                  <a:srgbClr val="C00000"/>
                </a:solidFill>
                <a:latin typeface="Times New Roman" panose="02020603050405020304" pitchFamily="18" charset="0"/>
                <a:cs typeface="Times New Roman" panose="02020603050405020304" pitchFamily="18" charset="0"/>
              </a:rPr>
              <a:t>tỷ</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đồng</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46,3% </a:t>
            </a:r>
            <a:r>
              <a:rPr lang="en-US" sz="2400" b="1" dirty="0" err="1">
                <a:solidFill>
                  <a:srgbClr val="C00000"/>
                </a:solidFill>
                <a:latin typeface="Times New Roman" panose="02020603050405020304" pitchFamily="18" charset="0"/>
                <a:cs typeface="Times New Roman" panose="02020603050405020304" pitchFamily="18" charset="0"/>
              </a:rPr>
              <a:t>dự</a:t>
            </a:r>
            <a:r>
              <a:rPr lang="en-US" sz="2400" b="1" dirty="0">
                <a:solidFill>
                  <a:srgbClr val="C00000"/>
                </a:solidFill>
                <a:latin typeface="Times New Roman" panose="02020603050405020304" pitchFamily="18" charset="0"/>
                <a:cs typeface="Times New Roman" panose="02020603050405020304" pitchFamily="18" charset="0"/>
              </a:rPr>
              <a:t> </a:t>
            </a:r>
            <a:r>
              <a:rPr lang="en-US" sz="2400" b="1" dirty="0"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6,6%</a:t>
            </a:r>
            <a:endParaRPr lang="en-US" sz="2400" b="1" dirty="0">
              <a:solidFill>
                <a:srgbClr val="C00000"/>
              </a:solidFill>
              <a:latin typeface="Times New Roman" panose="02020603050405020304" pitchFamily="18" charset="0"/>
              <a:cs typeface="Times New Roman" panose="02020603050405020304" pitchFamily="18" charset="0"/>
            </a:endParaRPr>
          </a:p>
          <a:p>
            <a:pPr algn="ctr"/>
            <a:r>
              <a:rPr lang="en-US" sz="2400" b="1" dirty="0">
                <a:solidFill>
                  <a:srgbClr val="002060"/>
                </a:solidFill>
                <a:latin typeface="Times New Roman" panose="02020603050405020304" pitchFamily="18" charset="0"/>
                <a:cs typeface="Times New Roman" panose="02020603050405020304" pitchFamily="18" charset="0"/>
              </a:rPr>
              <a:t> </a:t>
            </a:r>
          </a:p>
        </p:txBody>
      </p:sp>
      <p:sp>
        <p:nvSpPr>
          <p:cNvPr id="7" name="Arrow: Down 6">
            <a:extLst>
              <a:ext uri="{FF2B5EF4-FFF2-40B4-BE49-F238E27FC236}">
                <a16:creationId xmlns:a16="http://schemas.microsoft.com/office/drawing/2014/main" id="{64BE4B93-62E9-2F63-31E4-4FC00E3A7867}"/>
              </a:ext>
            </a:extLst>
          </p:cNvPr>
          <p:cNvSpPr/>
          <p:nvPr/>
        </p:nvSpPr>
        <p:spPr>
          <a:xfrm rot="10800000">
            <a:off x="10199953" y="6006600"/>
            <a:ext cx="357889" cy="24155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p>
        </p:txBody>
      </p:sp>
      <p:sp>
        <p:nvSpPr>
          <p:cNvPr id="27" name="Rectangle 26">
            <a:extLst>
              <a:ext uri="{FF2B5EF4-FFF2-40B4-BE49-F238E27FC236}">
                <a16:creationId xmlns:a16="http://schemas.microsoft.com/office/drawing/2014/main" id="{01DC26C3-E6F4-C27A-8624-3A65D81B6008}"/>
              </a:ext>
            </a:extLst>
          </p:cNvPr>
          <p:cNvSpPr/>
          <p:nvPr/>
        </p:nvSpPr>
        <p:spPr>
          <a:xfrm>
            <a:off x="1166275" y="413377"/>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 </a:t>
            </a:r>
            <a:r>
              <a:rPr lang="en-US" sz="2800" b="1" spc="-20" dirty="0" err="1">
                <a:solidFill>
                  <a:srgbClr val="100717"/>
                </a:solidFill>
                <a:latin typeface="Times New Roman" panose="02020603050405020304" pitchFamily="18" charset="0"/>
                <a:cs typeface="Times New Roman" panose="02020603050405020304" pitchFamily="18" charset="0"/>
              </a:rPr>
              <a:t>Tà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236789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22359E8A-8D97-394A-42E1-F5A568F7E097}"/>
              </a:ext>
            </a:extLst>
          </p:cNvPr>
          <p:cNvSpPr txBox="1"/>
          <p:nvPr/>
        </p:nvSpPr>
        <p:spPr>
          <a:xfrm>
            <a:off x="3421090" y="245597"/>
            <a:ext cx="8506790" cy="523220"/>
          </a:xfrm>
          <a:prstGeom prst="rect">
            <a:avLst/>
          </a:prstGeom>
          <a:noFill/>
        </p:spPr>
        <p:txBody>
          <a:bodyPr wrap="square">
            <a:spAutoFit/>
          </a:bodyPr>
          <a:lstStyle/>
          <a:p>
            <a:r>
              <a:rPr lang="de-DE" sz="2800" b="1" dirty="0">
                <a:latin typeface="Times New Roman" panose="02020603050405020304" pitchFamily="18" charset="0"/>
                <a:cs typeface="Times New Roman" panose="02020603050405020304" pitchFamily="18" charset="0"/>
              </a:rPr>
              <a:t>Thu ngân sách </a:t>
            </a:r>
            <a:r>
              <a:rPr lang="vi-VN" sz="2800" b="1" dirty="0">
                <a:latin typeface="Times New Roman" panose="02020603050405020304" pitchFamily="18" charset="0"/>
                <a:cs typeface="Times New Roman" panose="02020603050405020304" pitchFamily="18" charset="0"/>
              </a:rPr>
              <a:t>các huyện, thị xã, thành phố</a:t>
            </a:r>
            <a:endParaRPr lang="en-US" sz="2800" b="1" kern="0" spc="-10" dirty="0">
              <a:solidFill>
                <a:prstClr val="black"/>
              </a:solidFill>
              <a:ea typeface="Times New Roman" panose="02020603050405020304" pitchFamily="18" charset="0"/>
            </a:endParaRPr>
          </a:p>
        </p:txBody>
      </p:sp>
      <p:graphicFrame>
        <p:nvGraphicFramePr>
          <p:cNvPr id="10" name="Object 9">
            <a:extLst>
              <a:ext uri="{FF2B5EF4-FFF2-40B4-BE49-F238E27FC236}">
                <a16:creationId xmlns:a16="http://schemas.microsoft.com/office/drawing/2014/main" id="{B7D42763-B167-ACDC-27DF-8D808E8EF944}"/>
              </a:ext>
            </a:extLst>
          </p:cNvPr>
          <p:cNvGraphicFramePr>
            <a:graphicFrameLocks noChangeAspect="1"/>
          </p:cNvGraphicFramePr>
          <p:nvPr>
            <p:extLst>
              <p:ext uri="{D42A27DB-BD31-4B8C-83A1-F6EECF244321}">
                <p14:modId xmlns:p14="http://schemas.microsoft.com/office/powerpoint/2010/main" val="1170332785"/>
              </p:ext>
            </p:extLst>
          </p:nvPr>
        </p:nvGraphicFramePr>
        <p:xfrm>
          <a:off x="390555" y="1224793"/>
          <a:ext cx="11408383" cy="4639112"/>
        </p:xfrm>
        <a:graphic>
          <a:graphicData uri="http://schemas.openxmlformats.org/presentationml/2006/ole">
            <mc:AlternateContent xmlns:mc="http://schemas.openxmlformats.org/markup-compatibility/2006">
              <mc:Choice xmlns:v="urn:schemas-microsoft-com:vml" Requires="v">
                <p:oleObj name="Worksheet" r:id="rId2" imgW="15459120" imgH="6286580" progId="Excel.Sheet.12">
                  <p:embed/>
                </p:oleObj>
              </mc:Choice>
              <mc:Fallback>
                <p:oleObj name="Worksheet" r:id="rId2" imgW="15459120" imgH="6286580" progId="Excel.Sheet.12">
                  <p:embed/>
                  <p:pic>
                    <p:nvPicPr>
                      <p:cNvPr id="10" name="Object 9">
                        <a:extLst>
                          <a:ext uri="{FF2B5EF4-FFF2-40B4-BE49-F238E27FC236}">
                            <a16:creationId xmlns:a16="http://schemas.microsoft.com/office/drawing/2014/main" id="{B7D42763-B167-ACDC-27DF-8D808E8EF944}"/>
                          </a:ext>
                        </a:extLst>
                      </p:cNvPr>
                      <p:cNvPicPr/>
                      <p:nvPr/>
                    </p:nvPicPr>
                    <p:blipFill>
                      <a:blip r:embed="rId3"/>
                      <a:stretch>
                        <a:fillRect/>
                      </a:stretch>
                    </p:blipFill>
                    <p:spPr>
                      <a:xfrm>
                        <a:off x="390555" y="1224793"/>
                        <a:ext cx="11408383" cy="4639112"/>
                      </a:xfrm>
                      <a:prstGeom prst="rect">
                        <a:avLst/>
                      </a:prstGeom>
                    </p:spPr>
                  </p:pic>
                </p:oleObj>
              </mc:Fallback>
            </mc:AlternateContent>
          </a:graphicData>
        </a:graphic>
      </p:graphicFrame>
    </p:spTree>
    <p:extLst>
      <p:ext uri="{BB962C8B-B14F-4D97-AF65-F5344CB8AC3E}">
        <p14:creationId xmlns:p14="http://schemas.microsoft.com/office/powerpoint/2010/main" val="1514790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817781113"/>
              </p:ext>
            </p:extLst>
          </p:nvPr>
        </p:nvGraphicFramePr>
        <p:xfrm>
          <a:off x="236983" y="1752655"/>
          <a:ext cx="7363079" cy="4206240"/>
        </p:xfrm>
        <a:graphic>
          <a:graphicData uri="http://schemas.openxmlformats.org/drawingml/2006/table">
            <a:tbl>
              <a:tblPr firstRow="1" bandRow="1"/>
              <a:tblGrid>
                <a:gridCol w="7363079">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UBND tỉnh đã tổ chức Hội nghị đôn đốc giải ngân vốn đầu tư công năm 2023, giao các mốc thời gian thực hiện, giải ngân kế hoạch đầu tư công năm 2023 cho các chủ đầu tư</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it-IT"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endPar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ã </a:t>
                      </a:r>
                      <a:r>
                        <a:rPr lang="en-US" sz="2400" kern="1200" spc="-10">
                          <a:solidFill>
                            <a:prstClr val="black"/>
                          </a:solidFill>
                          <a:latin typeface="Times New Roman" panose="02020603050405020304" pitchFamily="18" charset="0"/>
                          <a:ea typeface="+mn-ea"/>
                          <a:cs typeface="Times New Roman" panose="02020603050405020304" pitchFamily="18" charset="0"/>
                        </a:rPr>
                        <a:t>điều chỉnh giảm kế hoạch vốn năm 2023 đối với các dự án đến ngày 31/3/2023 chưa được cấp có thẩm quyền phê duyệt kế hoạch lựa chọn nhà thầu</a:t>
                      </a:r>
                      <a:endParaRPr lang="it-IT" sz="2400" kern="1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Tỷ lệ</a:t>
                      </a:r>
                      <a:r>
                        <a:rPr lang="vi-VN" sz="2400" kern="1200" spc="-10">
                          <a:solidFill>
                            <a:prstClr val="black"/>
                          </a:solidFill>
                          <a:latin typeface="Times New Roman" panose="02020603050405020304" pitchFamily="18" charset="0"/>
                          <a:ea typeface="+mn-ea"/>
                          <a:cs typeface="Times New Roman" panose="02020603050405020304" pitchFamily="18" charset="0"/>
                        </a:rPr>
                        <a:t> giải ngân vốn đầu tư công đạt </a:t>
                      </a:r>
                      <a:r>
                        <a:rPr lang="en-US" sz="2400" kern="1200" spc="-10">
                          <a:solidFill>
                            <a:prstClr val="black"/>
                          </a:solidFill>
                          <a:latin typeface="Times New Roman" panose="02020603050405020304" pitchFamily="18" charset="0"/>
                          <a:ea typeface="+mn-ea"/>
                          <a:cs typeface="Times New Roman" panose="02020603050405020304" pitchFamily="18" charset="0"/>
                        </a:rPr>
                        <a:t>28,</a:t>
                      </a:r>
                      <a:r>
                        <a:rPr lang="vi-VN" sz="2400" kern="1200" spc="-10">
                          <a:solidFill>
                            <a:prstClr val="black"/>
                          </a:solidFill>
                          <a:latin typeface="Times New Roman" panose="02020603050405020304" pitchFamily="18" charset="0"/>
                          <a:ea typeface="+mn-ea"/>
                          <a:cs typeface="Times New Roman" panose="02020603050405020304" pitchFamily="18" charset="0"/>
                        </a:rPr>
                        <a:t>12</a:t>
                      </a:r>
                      <a:r>
                        <a:rPr lang="en-US" sz="2400" kern="1200" spc="-10">
                          <a:solidFill>
                            <a:prstClr val="black"/>
                          </a:solidFill>
                          <a:latin typeface="Times New Roman" panose="02020603050405020304" pitchFamily="18" charset="0"/>
                          <a:ea typeface="+mn-ea"/>
                          <a:cs typeface="Times New Roman" panose="02020603050405020304" pitchFamily="18" charset="0"/>
                        </a:rPr>
                        <a:t>%.</a:t>
                      </a:r>
                      <a:endParaRPr lang="vi-VN"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1072902" y="367660"/>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phát triển</a:t>
            </a:r>
          </a:p>
        </p:txBody>
      </p:sp>
      <p:pic>
        <p:nvPicPr>
          <p:cNvPr id="9" name="Picture 8" descr="A picture containing text, person, people, group&#10;&#10;Description automatically generated">
            <a:extLst>
              <a:ext uri="{FF2B5EF4-FFF2-40B4-BE49-F238E27FC236}">
                <a16:creationId xmlns:a16="http://schemas.microsoft.com/office/drawing/2014/main" id="{CDC37B83-E538-7BDA-9A1E-E09DCFF78A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0464" y="1354173"/>
            <a:ext cx="3915775" cy="2316418"/>
          </a:xfrm>
          <a:prstGeom prst="rect">
            <a:avLst/>
          </a:prstGeom>
        </p:spPr>
      </p:pic>
      <p:pic>
        <p:nvPicPr>
          <p:cNvPr id="4" name="Picture 3" descr="A picture containing outdoor, sky, ground, infrastructure&#10;&#10;Description automatically generated">
            <a:extLst>
              <a:ext uri="{FF2B5EF4-FFF2-40B4-BE49-F238E27FC236}">
                <a16:creationId xmlns:a16="http://schemas.microsoft.com/office/drawing/2014/main" id="{5045E7A8-8A58-D06A-A74A-C57274D706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0464" y="3914601"/>
            <a:ext cx="3915775" cy="2503325"/>
          </a:xfrm>
          <a:prstGeom prst="rect">
            <a:avLst/>
          </a:prstGeom>
        </p:spPr>
      </p:pic>
      <p:sp>
        <p:nvSpPr>
          <p:cNvPr id="2" name="TextBox 1">
            <a:extLst>
              <a:ext uri="{FF2B5EF4-FFF2-40B4-BE49-F238E27FC236}">
                <a16:creationId xmlns:a16="http://schemas.microsoft.com/office/drawing/2014/main" id="{F8EF66F9-1D66-D782-0E4F-5E38DD126185}"/>
              </a:ext>
            </a:extLst>
          </p:cNvPr>
          <p:cNvSpPr txBox="1"/>
          <p:nvPr/>
        </p:nvSpPr>
        <p:spPr>
          <a:xfrm>
            <a:off x="1325970" y="829325"/>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1. Đầu tư công</a:t>
            </a:r>
          </a:p>
        </p:txBody>
      </p:sp>
    </p:spTree>
    <p:extLst>
      <p:ext uri="{BB962C8B-B14F-4D97-AF65-F5344CB8AC3E}">
        <p14:creationId xmlns:p14="http://schemas.microsoft.com/office/powerpoint/2010/main" val="2569991023"/>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6DD756-FB9C-20A4-B9B1-1FEF2C8898FF}"/>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54</a:t>
            </a:fld>
            <a:endParaRPr lang="en-US">
              <a:solidFill>
                <a:prstClr val="black">
                  <a:tint val="75000"/>
                </a:prstClr>
              </a:solidFill>
            </a:endParaRPr>
          </a:p>
        </p:txBody>
      </p:sp>
      <p:graphicFrame>
        <p:nvGraphicFramePr>
          <p:cNvPr id="7" name="Content Placeholder 6">
            <a:extLst>
              <a:ext uri="{FF2B5EF4-FFF2-40B4-BE49-F238E27FC236}">
                <a16:creationId xmlns:a16="http://schemas.microsoft.com/office/drawing/2014/main" id="{21072E10-E213-8230-E87D-66CC2B0F206C}"/>
              </a:ext>
            </a:extLst>
          </p:cNvPr>
          <p:cNvGraphicFramePr>
            <a:graphicFrameLocks noGrp="1"/>
          </p:cNvGraphicFramePr>
          <p:nvPr>
            <p:ph idx="1"/>
          </p:nvPr>
        </p:nvGraphicFramePr>
        <p:xfrm>
          <a:off x="838200" y="1511929"/>
          <a:ext cx="10515600" cy="466503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76A791F0-8BA3-9CFF-F03C-87F8A6165FE5}"/>
              </a:ext>
            </a:extLst>
          </p:cNvPr>
          <p:cNvSpPr txBox="1"/>
          <p:nvPr/>
        </p:nvSpPr>
        <p:spPr>
          <a:xfrm>
            <a:off x="1114847" y="543828"/>
            <a:ext cx="708958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Giải ngân chung theo nguồn vốn năm 2023</a:t>
            </a:r>
          </a:p>
        </p:txBody>
      </p:sp>
    </p:spTree>
    <p:extLst>
      <p:ext uri="{BB962C8B-B14F-4D97-AF65-F5344CB8AC3E}">
        <p14:creationId xmlns:p14="http://schemas.microsoft.com/office/powerpoint/2010/main" val="12757557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1B4B638-D8C9-63CB-0C4C-AF8CBBC88A8B}"/>
              </a:ext>
            </a:extLst>
          </p:cNvPr>
          <p:cNvSpPr txBox="1"/>
          <p:nvPr/>
        </p:nvSpPr>
        <p:spPr>
          <a:xfrm>
            <a:off x="10474852" y="531125"/>
            <a:ext cx="1285595" cy="276999"/>
          </a:xfrm>
          <a:prstGeom prst="rect">
            <a:avLst/>
          </a:prstGeom>
          <a:noFill/>
        </p:spPr>
        <p:txBody>
          <a:bodyPr wrap="square" rtlCol="0">
            <a:spAutoFit/>
          </a:bodyPr>
          <a:lstStyle/>
          <a:p>
            <a:r>
              <a:rPr lang="en-US" sz="1200" b="1" i="1" dirty="0" err="1">
                <a:latin typeface="Times New Roman" panose="02020603050405020304" pitchFamily="18" charset="0"/>
                <a:cs typeface="Times New Roman" panose="02020603050405020304" pitchFamily="18" charset="0"/>
              </a:rPr>
              <a:t>ĐVT</a:t>
            </a:r>
            <a:r>
              <a:rPr lang="en-US" sz="1200" b="1" i="1" dirty="0">
                <a:latin typeface="Times New Roman" panose="02020603050405020304" pitchFamily="18" charset="0"/>
                <a:cs typeface="Times New Roman" panose="02020603050405020304" pitchFamily="18" charset="0"/>
              </a:rPr>
              <a:t>: </a:t>
            </a:r>
            <a:r>
              <a:rPr lang="en-US" sz="1200" b="1" i="1" dirty="0" err="1">
                <a:latin typeface="Times New Roman" panose="02020603050405020304" pitchFamily="18" charset="0"/>
                <a:cs typeface="Times New Roman" panose="02020603050405020304" pitchFamily="18" charset="0"/>
              </a:rPr>
              <a:t>triệu</a:t>
            </a:r>
            <a:r>
              <a:rPr lang="en-US" sz="1200" b="1" i="1" dirty="0">
                <a:latin typeface="Times New Roman" panose="02020603050405020304" pitchFamily="18" charset="0"/>
                <a:cs typeface="Times New Roman" panose="02020603050405020304" pitchFamily="18" charset="0"/>
              </a:rPr>
              <a:t> </a:t>
            </a:r>
            <a:r>
              <a:rPr lang="en-US" sz="1200" b="1" i="1" dirty="0" err="1">
                <a:latin typeface="Times New Roman" panose="02020603050405020304" pitchFamily="18" charset="0"/>
                <a:cs typeface="Times New Roman" panose="02020603050405020304" pitchFamily="18" charset="0"/>
              </a:rPr>
              <a:t>đồng</a:t>
            </a:r>
            <a:endParaRPr lang="vi-VN" sz="1200" b="1" i="1" dirty="0">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4FB4D7C-01CC-0736-5D6D-65D7293CE01F}"/>
              </a:ext>
            </a:extLst>
          </p:cNvPr>
          <p:cNvGraphicFramePr>
            <a:graphicFrameLocks noGrp="1"/>
          </p:cNvGraphicFramePr>
          <p:nvPr/>
        </p:nvGraphicFramePr>
        <p:xfrm>
          <a:off x="615635" y="869470"/>
          <a:ext cx="5296277" cy="5866317"/>
        </p:xfrm>
        <a:graphic>
          <a:graphicData uri="http://schemas.openxmlformats.org/drawingml/2006/table">
            <a:tbl>
              <a:tblPr firstRow="1" firstCol="1">
                <a:tableStyleId>{FABFCF23-3B69-468F-B69F-88F6DE6A72F2}</a:tableStyleId>
              </a:tblPr>
              <a:tblGrid>
                <a:gridCol w="427245">
                  <a:extLst>
                    <a:ext uri="{9D8B030D-6E8A-4147-A177-3AD203B41FA5}">
                      <a16:colId xmlns:a16="http://schemas.microsoft.com/office/drawing/2014/main" val="1864825441"/>
                    </a:ext>
                  </a:extLst>
                </a:gridCol>
                <a:gridCol w="2336822">
                  <a:extLst>
                    <a:ext uri="{9D8B030D-6E8A-4147-A177-3AD203B41FA5}">
                      <a16:colId xmlns:a16="http://schemas.microsoft.com/office/drawing/2014/main" val="473679340"/>
                    </a:ext>
                  </a:extLst>
                </a:gridCol>
                <a:gridCol w="989958">
                  <a:extLst>
                    <a:ext uri="{9D8B030D-6E8A-4147-A177-3AD203B41FA5}">
                      <a16:colId xmlns:a16="http://schemas.microsoft.com/office/drawing/2014/main" val="2277943783"/>
                    </a:ext>
                  </a:extLst>
                </a:gridCol>
                <a:gridCol w="999045">
                  <a:extLst>
                    <a:ext uri="{9D8B030D-6E8A-4147-A177-3AD203B41FA5}">
                      <a16:colId xmlns:a16="http://schemas.microsoft.com/office/drawing/2014/main" val="3680117015"/>
                    </a:ext>
                  </a:extLst>
                </a:gridCol>
                <a:gridCol w="543207">
                  <a:extLst>
                    <a:ext uri="{9D8B030D-6E8A-4147-A177-3AD203B41FA5}">
                      <a16:colId xmlns:a16="http://schemas.microsoft.com/office/drawing/2014/main" val="3290008954"/>
                    </a:ext>
                  </a:extLst>
                </a:gridCol>
              </a:tblGrid>
              <a:tr h="603923">
                <a:tc>
                  <a:txBody>
                    <a:bodyPr/>
                    <a:lstStyle/>
                    <a:p>
                      <a:pPr algn="ctr" fontAlgn="ctr"/>
                      <a:r>
                        <a:rPr lang="vi-VN" sz="1200" u="none" strike="noStrike">
                          <a:effectLst/>
                        </a:rPr>
                        <a:t>TT</a:t>
                      </a:r>
                      <a:endParaRPr lang="vi-VN" sz="12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a:effectLst/>
                        </a:rPr>
                        <a:t>Chủ đầu tư</a:t>
                      </a:r>
                      <a:endParaRPr lang="vi-VN" sz="12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dirty="0">
                          <a:effectLst/>
                        </a:rPr>
                        <a:t>Kế hoạch vốn năm 2023</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dirty="0">
                          <a:effectLst/>
                        </a:rPr>
                        <a:t>Giải ngân 12/6/2023</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a:effectLst/>
                        </a:rPr>
                        <a:t>Tỷ lệ </a:t>
                      </a:r>
                      <a:br>
                        <a:rPr lang="vi-VN" sz="1200" u="none" strike="noStrike">
                          <a:effectLst/>
                        </a:rPr>
                      </a:br>
                      <a:r>
                        <a:rPr lang="vi-VN" sz="1200" u="none" strike="noStrike">
                          <a:effectLst/>
                        </a:rPr>
                        <a:t>(%)</a:t>
                      </a:r>
                      <a:endParaRPr lang="vi-VN" sz="1200" b="1"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76515375"/>
                  </a:ext>
                </a:extLst>
              </a:tr>
              <a:tr h="201308">
                <a:tc>
                  <a:txBody>
                    <a:bodyPr/>
                    <a:lstStyle/>
                    <a:p>
                      <a:pPr algn="ctr" fontAlgn="ctr"/>
                      <a:r>
                        <a:rPr lang="vi-VN" sz="1200" u="none" strike="noStrike">
                          <a:effectLst/>
                        </a:rPr>
                        <a:t> </a:t>
                      </a:r>
                      <a:endParaRPr lang="vi-VN" sz="12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b="1" u="none" strike="noStrike" dirty="0">
                          <a:effectLst/>
                        </a:rPr>
                        <a:t>TỔNG CỘNG</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9.602.464</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2.808.894</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29,25</a:t>
                      </a:r>
                      <a:endParaRPr lang="vi-VN" sz="1200" b="1"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908810261"/>
                  </a:ext>
                </a:extLst>
              </a:tr>
              <a:tr h="201308">
                <a:tc>
                  <a:txBody>
                    <a:bodyPr/>
                    <a:lstStyle/>
                    <a:p>
                      <a:pPr algn="ctr" fontAlgn="ctr"/>
                      <a:r>
                        <a:rPr lang="vi-VN" sz="1200" b="1" u="none" strike="noStrike" dirty="0">
                          <a:effectLst/>
                        </a:rPr>
                        <a:t>I</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b="1" u="none" strike="noStrike" dirty="0">
                          <a:effectLst/>
                        </a:rPr>
                        <a:t>Bố trí cho các đơn vị thực hiện</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8.836.217</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2.467.249</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27,92</a:t>
                      </a:r>
                      <a:endParaRPr lang="vi-VN" sz="1200" b="1"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659919264"/>
                  </a:ext>
                </a:extLst>
              </a:tr>
              <a:tr h="201308">
                <a:tc>
                  <a:txBody>
                    <a:bodyPr/>
                    <a:lstStyle/>
                    <a:p>
                      <a:pPr algn="ctr" fontAlgn="ctr"/>
                      <a:r>
                        <a:rPr lang="vi-VN" sz="1200" b="0" u="none" strike="noStrike" dirty="0">
                          <a:effectLst/>
                        </a:rPr>
                        <a:t>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Tài chí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4.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4.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0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124196095"/>
                  </a:ext>
                </a:extLst>
              </a:tr>
              <a:tr h="201308">
                <a:tc>
                  <a:txBody>
                    <a:bodyPr/>
                    <a:lstStyle/>
                    <a:p>
                      <a:pPr algn="ctr" fontAlgn="ctr"/>
                      <a:r>
                        <a:rPr lang="vi-VN" sz="1200" b="0" u="none" strike="noStrike" dirty="0">
                          <a:effectLst/>
                        </a:rPr>
                        <a:t>2</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Đài PTTH Bình Đị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53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53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0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100391035"/>
                  </a:ext>
                </a:extLst>
              </a:tr>
              <a:tr h="229694">
                <a:tc>
                  <a:txBody>
                    <a:bodyPr/>
                    <a:lstStyle/>
                    <a:p>
                      <a:pPr algn="ctr" fontAlgn="ctr"/>
                      <a:r>
                        <a:rPr lang="vi-VN" sz="1200" b="0" u="none" strike="noStrike" dirty="0">
                          <a:effectLst/>
                        </a:rPr>
                        <a:t>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Tư pháp</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95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98,53</a:t>
                      </a:r>
                      <a:endParaRPr lang="vi-VN" sz="12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75891916"/>
                  </a:ext>
                </a:extLst>
              </a:tr>
              <a:tr h="201308">
                <a:tc>
                  <a:txBody>
                    <a:bodyPr/>
                    <a:lstStyle/>
                    <a:p>
                      <a:pPr algn="ctr" fontAlgn="ctr"/>
                      <a:r>
                        <a:rPr lang="vi-VN" sz="1200" b="0" u="none" strike="noStrike" dirty="0">
                          <a:effectLst/>
                        </a:rPr>
                        <a:t>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Trường CĐ Y tế</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9.6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15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4,53</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232005513"/>
                  </a:ext>
                </a:extLst>
              </a:tr>
              <a:tr h="201308">
                <a:tc>
                  <a:txBody>
                    <a:bodyPr/>
                    <a:lstStyle/>
                    <a:p>
                      <a:pPr algn="ctr" fontAlgn="ctr"/>
                      <a:r>
                        <a:rPr lang="vi-VN" sz="1200" b="0" u="none" strike="noStrike" dirty="0">
                          <a:effectLst/>
                        </a:rPr>
                        <a:t>5</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CH QS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49.769</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6.26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2,87</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241780824"/>
                  </a:ext>
                </a:extLst>
              </a:tr>
              <a:tr h="201308">
                <a:tc>
                  <a:txBody>
                    <a:bodyPr/>
                    <a:lstStyle/>
                    <a:p>
                      <a:pPr algn="ctr" fontAlgn="ctr"/>
                      <a:r>
                        <a:rPr lang="vi-VN" sz="1200" b="0" u="none" strike="noStrike" dirty="0">
                          <a:effectLst/>
                        </a:rPr>
                        <a:t>6</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Sở Thông tin và Truyền thông</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59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56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9,25</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431845493"/>
                  </a:ext>
                </a:extLst>
              </a:tr>
              <a:tr h="201308">
                <a:tc>
                  <a:txBody>
                    <a:bodyPr/>
                    <a:lstStyle/>
                    <a:p>
                      <a:pPr algn="ctr" fontAlgn="ctr"/>
                      <a:r>
                        <a:rPr lang="vi-VN" sz="1200" b="0" u="none" strike="noStrike" dirty="0">
                          <a:effectLst/>
                        </a:rPr>
                        <a:t>7</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GTV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91.70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25.26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5,34</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340425500"/>
                  </a:ext>
                </a:extLst>
              </a:tr>
              <a:tr h="201308">
                <a:tc>
                  <a:txBody>
                    <a:bodyPr/>
                    <a:lstStyle/>
                    <a:p>
                      <a:pPr algn="ctr" fontAlgn="ctr"/>
                      <a:r>
                        <a:rPr lang="vi-VN" sz="1200" b="0" u="none" strike="noStrike" dirty="0">
                          <a:effectLst/>
                        </a:rPr>
                        <a:t>8</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Tỉnh đoàn</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83</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1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4,3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97659277"/>
                  </a:ext>
                </a:extLst>
              </a:tr>
              <a:tr h="201308">
                <a:tc>
                  <a:txBody>
                    <a:bodyPr/>
                    <a:lstStyle/>
                    <a:p>
                      <a:pPr algn="ctr" fontAlgn="ctr"/>
                      <a:r>
                        <a:rPr lang="vi-VN" sz="1200" b="0" u="none" strike="noStrike">
                          <a:effectLst/>
                        </a:rPr>
                        <a:t>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QL KK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3.15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2.50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8,11</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439345436"/>
                  </a:ext>
                </a:extLst>
              </a:tr>
              <a:tr h="201308">
                <a:tc>
                  <a:txBody>
                    <a:bodyPr/>
                    <a:lstStyle/>
                    <a:p>
                      <a:pPr algn="ctr" fontAlgn="ctr"/>
                      <a:r>
                        <a:rPr lang="vi-VN" sz="1200" b="0" u="none" strike="noStrike" dirty="0">
                          <a:effectLst/>
                        </a:rPr>
                        <a:t>10</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TT Phát triển Quỹ đấ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139.94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63.899</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45,66</a:t>
                      </a:r>
                      <a:endParaRPr lang="vi-VN" sz="12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456461536"/>
                  </a:ext>
                </a:extLst>
              </a:tr>
              <a:tr h="201308">
                <a:tc>
                  <a:txBody>
                    <a:bodyPr/>
                    <a:lstStyle/>
                    <a:p>
                      <a:pPr algn="ctr" fontAlgn="ctr"/>
                      <a:r>
                        <a:rPr lang="vi-VN" sz="1200" b="0" u="none" strike="noStrike" dirty="0">
                          <a:effectLst/>
                        </a:rPr>
                        <a:t>1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KH&amp;Đ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5.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7.29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8,6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020802493"/>
                  </a:ext>
                </a:extLst>
              </a:tr>
              <a:tr h="201308">
                <a:tc>
                  <a:txBody>
                    <a:bodyPr/>
                    <a:lstStyle/>
                    <a:p>
                      <a:pPr algn="ctr" fontAlgn="ctr"/>
                      <a:r>
                        <a:rPr lang="vi-VN" sz="1200" b="0" u="none" strike="noStrike" dirty="0">
                          <a:effectLst/>
                        </a:rPr>
                        <a:t>12</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CH BĐ Biên phòng</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04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74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3,19</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747290576"/>
                  </a:ext>
                </a:extLst>
              </a:tr>
              <a:tr h="201308">
                <a:tc>
                  <a:txBody>
                    <a:bodyPr/>
                    <a:lstStyle/>
                    <a:p>
                      <a:pPr algn="ctr" fontAlgn="ctr"/>
                      <a:r>
                        <a:rPr lang="vi-VN" sz="1200" b="0" u="none" strike="noStrike" dirty="0">
                          <a:effectLst/>
                        </a:rPr>
                        <a:t>1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TN&amp;M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4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190</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5,06</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94117107"/>
                  </a:ext>
                </a:extLst>
              </a:tr>
              <a:tr h="201308">
                <a:tc>
                  <a:txBody>
                    <a:bodyPr/>
                    <a:lstStyle/>
                    <a:p>
                      <a:pPr algn="ctr" fontAlgn="ctr"/>
                      <a:r>
                        <a:rPr lang="vi-VN" sz="1200" b="0" u="none" strike="noStrike" dirty="0">
                          <a:effectLst/>
                        </a:rPr>
                        <a:t>1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an QLDA NN&amp;PTN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156.37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01.25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4,7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933804485"/>
                  </a:ext>
                </a:extLst>
              </a:tr>
              <a:tr h="201308">
                <a:tc>
                  <a:txBody>
                    <a:bodyPr/>
                    <a:lstStyle/>
                    <a:p>
                      <a:pPr algn="ctr" fontAlgn="ctr"/>
                      <a:r>
                        <a:rPr lang="vi-VN" sz="1200" b="0" u="none" strike="noStrike" dirty="0">
                          <a:effectLst/>
                        </a:rPr>
                        <a:t>15</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Hoài Ân</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43.14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49.125</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4,3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823755751"/>
                  </a:ext>
                </a:extLst>
              </a:tr>
              <a:tr h="201308">
                <a:tc>
                  <a:txBody>
                    <a:bodyPr/>
                    <a:lstStyle/>
                    <a:p>
                      <a:pPr algn="ctr" fontAlgn="ctr"/>
                      <a:r>
                        <a:rPr lang="vi-VN" sz="1200" b="0" u="none" strike="noStrike" dirty="0">
                          <a:effectLst/>
                        </a:rPr>
                        <a:t>16</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an GPMB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65.82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58.55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4,04</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960785909"/>
                  </a:ext>
                </a:extLst>
              </a:tr>
              <a:tr h="201308">
                <a:tc>
                  <a:txBody>
                    <a:bodyPr/>
                    <a:lstStyle/>
                    <a:p>
                      <a:pPr algn="ctr" fontAlgn="ctr"/>
                      <a:r>
                        <a:rPr lang="vi-VN" sz="1200" b="0" u="none" strike="noStrike" dirty="0">
                          <a:effectLst/>
                        </a:rPr>
                        <a:t>17</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an QLDA Giao thông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401.91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16.65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9,84</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08486256"/>
                  </a:ext>
                </a:extLst>
              </a:tr>
              <a:tr h="201308">
                <a:tc>
                  <a:txBody>
                    <a:bodyPr/>
                    <a:lstStyle/>
                    <a:p>
                      <a:pPr algn="ctr" fontAlgn="ctr"/>
                      <a:r>
                        <a:rPr lang="vi-VN" sz="1200" b="0" u="none" strike="noStrike" dirty="0">
                          <a:effectLst/>
                        </a:rPr>
                        <a:t>18</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Trường Chính trị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9.5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78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9,36</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580261843"/>
                  </a:ext>
                </a:extLst>
              </a:tr>
              <a:tr h="201308">
                <a:tc>
                  <a:txBody>
                    <a:bodyPr/>
                    <a:lstStyle/>
                    <a:p>
                      <a:pPr algn="ctr" fontAlgn="ctr"/>
                      <a:r>
                        <a:rPr lang="vi-VN" sz="1200" b="0" u="none" strike="noStrike" dirty="0">
                          <a:effectLst/>
                        </a:rPr>
                        <a:t>19</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Phù Cá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57.00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03.03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8,86</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222827050"/>
                  </a:ext>
                </a:extLst>
              </a:tr>
              <a:tr h="201308">
                <a:tc>
                  <a:txBody>
                    <a:bodyPr/>
                    <a:lstStyle/>
                    <a:p>
                      <a:pPr algn="ctr" fontAlgn="ctr"/>
                      <a:r>
                        <a:rPr lang="vi-VN" sz="1200" b="0" u="none" strike="noStrike" dirty="0">
                          <a:effectLst/>
                        </a:rPr>
                        <a:t>20</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NN&amp;PTN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05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8,57</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868152662"/>
                  </a:ext>
                </a:extLst>
              </a:tr>
              <a:tr h="201308">
                <a:tc>
                  <a:txBody>
                    <a:bodyPr/>
                    <a:lstStyle/>
                    <a:p>
                      <a:pPr algn="ctr" fontAlgn="ctr"/>
                      <a:r>
                        <a:rPr lang="vi-VN" sz="1200" b="0" u="none" strike="noStrike" dirty="0">
                          <a:effectLst/>
                        </a:rPr>
                        <a:t>2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Phù Mỹ</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38.72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4.33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6,95</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553094862"/>
                  </a:ext>
                </a:extLst>
              </a:tr>
              <a:tr h="201308">
                <a:tc>
                  <a:txBody>
                    <a:bodyPr/>
                    <a:lstStyle/>
                    <a:p>
                      <a:pPr algn="ctr" fontAlgn="ctr"/>
                      <a:r>
                        <a:rPr lang="vi-VN" sz="1200" b="0" u="none" strike="noStrike" dirty="0">
                          <a:effectLst/>
                        </a:rPr>
                        <a:t>22</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VH&amp;TT</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16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43</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5,1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043730390"/>
                  </a:ext>
                </a:extLst>
              </a:tr>
              <a:tr h="201308">
                <a:tc>
                  <a:txBody>
                    <a:bodyPr/>
                    <a:lstStyle/>
                    <a:p>
                      <a:pPr algn="ctr" fontAlgn="ctr"/>
                      <a:r>
                        <a:rPr lang="vi-VN" sz="1200" b="0" u="none" strike="noStrike" dirty="0">
                          <a:effectLst/>
                        </a:rPr>
                        <a:t>2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Công an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0.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5,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279176294"/>
                  </a:ext>
                </a:extLst>
              </a:tr>
              <a:tr h="201308">
                <a:tc>
                  <a:txBody>
                    <a:bodyPr/>
                    <a:lstStyle/>
                    <a:p>
                      <a:pPr algn="ctr" fontAlgn="ctr"/>
                      <a:r>
                        <a:rPr lang="vi-VN" sz="1200" b="0" u="none" strike="noStrike" dirty="0">
                          <a:effectLst/>
                        </a:rPr>
                        <a:t>2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thị xã Hoài Nhơn</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99.75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20.19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24,05</a:t>
                      </a:r>
                      <a:endParaRPr lang="vi-VN" sz="12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947659657"/>
                  </a:ext>
                </a:extLst>
              </a:tr>
            </a:tbl>
          </a:graphicData>
        </a:graphic>
      </p:graphicFrame>
      <p:graphicFrame>
        <p:nvGraphicFramePr>
          <p:cNvPr id="7" name="Table 6">
            <a:extLst>
              <a:ext uri="{FF2B5EF4-FFF2-40B4-BE49-F238E27FC236}">
                <a16:creationId xmlns:a16="http://schemas.microsoft.com/office/drawing/2014/main" id="{CEED3EA2-0750-10C2-1A30-ACB23F10ADA9}"/>
              </a:ext>
            </a:extLst>
          </p:cNvPr>
          <p:cNvGraphicFramePr>
            <a:graphicFrameLocks noGrp="1"/>
          </p:cNvGraphicFramePr>
          <p:nvPr/>
        </p:nvGraphicFramePr>
        <p:xfrm>
          <a:off x="6280089" y="869470"/>
          <a:ext cx="5416988" cy="5866319"/>
        </p:xfrm>
        <a:graphic>
          <a:graphicData uri="http://schemas.openxmlformats.org/drawingml/2006/table">
            <a:tbl>
              <a:tblPr firstRow="1" firstCol="1">
                <a:tableStyleId>{FABFCF23-3B69-468F-B69F-88F6DE6A72F2}</a:tableStyleId>
              </a:tblPr>
              <a:tblGrid>
                <a:gridCol w="436983">
                  <a:extLst>
                    <a:ext uri="{9D8B030D-6E8A-4147-A177-3AD203B41FA5}">
                      <a16:colId xmlns:a16="http://schemas.microsoft.com/office/drawing/2014/main" val="10839429"/>
                    </a:ext>
                  </a:extLst>
                </a:gridCol>
                <a:gridCol w="2390081">
                  <a:extLst>
                    <a:ext uri="{9D8B030D-6E8A-4147-A177-3AD203B41FA5}">
                      <a16:colId xmlns:a16="http://schemas.microsoft.com/office/drawing/2014/main" val="971399140"/>
                    </a:ext>
                  </a:extLst>
                </a:gridCol>
                <a:gridCol w="1012521">
                  <a:extLst>
                    <a:ext uri="{9D8B030D-6E8A-4147-A177-3AD203B41FA5}">
                      <a16:colId xmlns:a16="http://schemas.microsoft.com/office/drawing/2014/main" val="3893375504"/>
                    </a:ext>
                  </a:extLst>
                </a:gridCol>
                <a:gridCol w="1001863">
                  <a:extLst>
                    <a:ext uri="{9D8B030D-6E8A-4147-A177-3AD203B41FA5}">
                      <a16:colId xmlns:a16="http://schemas.microsoft.com/office/drawing/2014/main" val="3393433242"/>
                    </a:ext>
                  </a:extLst>
                </a:gridCol>
                <a:gridCol w="575540">
                  <a:extLst>
                    <a:ext uri="{9D8B030D-6E8A-4147-A177-3AD203B41FA5}">
                      <a16:colId xmlns:a16="http://schemas.microsoft.com/office/drawing/2014/main" val="2836198408"/>
                    </a:ext>
                  </a:extLst>
                </a:gridCol>
              </a:tblGrid>
              <a:tr h="646365">
                <a:tc>
                  <a:txBody>
                    <a:bodyPr/>
                    <a:lstStyle/>
                    <a:p>
                      <a:pPr algn="ctr" fontAlgn="ctr"/>
                      <a:r>
                        <a:rPr lang="vi-VN" sz="1200" u="none" strike="noStrike">
                          <a:effectLst/>
                        </a:rPr>
                        <a:t>TT</a:t>
                      </a:r>
                      <a:endParaRPr lang="vi-VN" sz="12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dirty="0">
                          <a:effectLst/>
                        </a:rPr>
                        <a:t>Chủ đầu tư</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a:effectLst/>
                        </a:rPr>
                        <a:t>Kế hoạch vốn năm 2023</a:t>
                      </a:r>
                      <a:endParaRPr lang="vi-VN" sz="12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dirty="0">
                          <a:effectLst/>
                        </a:rPr>
                        <a:t>Giải ngân 12/6/2023</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u="none" strike="noStrike">
                          <a:effectLst/>
                        </a:rPr>
                        <a:t>Tỷ lệ </a:t>
                      </a:r>
                      <a:br>
                        <a:rPr lang="vi-VN" sz="1200" u="none" strike="noStrike">
                          <a:effectLst/>
                        </a:rPr>
                      </a:br>
                      <a:r>
                        <a:rPr lang="vi-VN" sz="1200" u="none" strike="noStrike">
                          <a:effectLst/>
                        </a:rPr>
                        <a:t>(%)</a:t>
                      </a:r>
                      <a:endParaRPr lang="vi-VN" sz="1200" b="1"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594273858"/>
                  </a:ext>
                </a:extLst>
              </a:tr>
              <a:tr h="215455">
                <a:tc>
                  <a:txBody>
                    <a:bodyPr/>
                    <a:lstStyle/>
                    <a:p>
                      <a:pPr algn="ctr" fontAlgn="ctr"/>
                      <a:r>
                        <a:rPr lang="vi-VN" sz="1200" b="0" u="none" strike="noStrike" dirty="0">
                          <a:effectLst/>
                        </a:rPr>
                        <a:t>25</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An Lão</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62.23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2.36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3,78</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339580622"/>
                  </a:ext>
                </a:extLst>
              </a:tr>
              <a:tr h="215455">
                <a:tc>
                  <a:txBody>
                    <a:bodyPr/>
                    <a:lstStyle/>
                    <a:p>
                      <a:pPr algn="ctr" fontAlgn="ctr"/>
                      <a:r>
                        <a:rPr lang="vi-VN" sz="1200" b="0" u="none" strike="noStrike" dirty="0">
                          <a:effectLst/>
                        </a:rPr>
                        <a:t>26</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LĐ, TB, X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56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783</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3,58</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88367839"/>
                  </a:ext>
                </a:extLst>
              </a:tr>
              <a:tr h="215455">
                <a:tc>
                  <a:txBody>
                    <a:bodyPr/>
                    <a:lstStyle/>
                    <a:p>
                      <a:pPr algn="ctr" fontAlgn="ctr"/>
                      <a:r>
                        <a:rPr lang="vi-VN" sz="1200" b="0" u="none" strike="noStrike">
                          <a:effectLst/>
                        </a:rPr>
                        <a:t>27</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BVĐK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4.95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79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3,21</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090089670"/>
                  </a:ext>
                </a:extLst>
              </a:tr>
              <a:tr h="215455">
                <a:tc>
                  <a:txBody>
                    <a:bodyPr/>
                    <a:lstStyle/>
                    <a:p>
                      <a:pPr algn="ctr" fontAlgn="ctr"/>
                      <a:r>
                        <a:rPr lang="vi-VN" sz="1200" b="0" u="none" strike="noStrike" dirty="0">
                          <a:effectLst/>
                        </a:rPr>
                        <a:t>28</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Sở KH&amp;CN</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6.58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493</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2,67</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527953166"/>
                  </a:ext>
                </a:extLst>
              </a:tr>
              <a:tr h="215455">
                <a:tc>
                  <a:txBody>
                    <a:bodyPr/>
                    <a:lstStyle/>
                    <a:p>
                      <a:pPr algn="ctr" fontAlgn="ctr"/>
                      <a:r>
                        <a:rPr lang="vi-VN" sz="1200" b="0" u="none" strike="noStrike">
                          <a:effectLst/>
                        </a:rPr>
                        <a:t>29</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Y tế</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40.608</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12.95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31,90</a:t>
                      </a:r>
                      <a:endParaRPr lang="vi-VN" sz="12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427702602"/>
                  </a:ext>
                </a:extLst>
              </a:tr>
              <a:tr h="215455">
                <a:tc>
                  <a:txBody>
                    <a:bodyPr/>
                    <a:lstStyle/>
                    <a:p>
                      <a:pPr algn="ctr" fontAlgn="ctr"/>
                      <a:r>
                        <a:rPr lang="vi-VN" sz="1200" b="0" u="none" strike="noStrike" dirty="0">
                          <a:effectLst/>
                        </a:rPr>
                        <a:t>30</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UBND huyện Vĩnh Thạnh</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90.96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7.674</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9,43</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113320220"/>
                  </a:ext>
                </a:extLst>
              </a:tr>
              <a:tr h="215455">
                <a:tc>
                  <a:txBody>
                    <a:bodyPr/>
                    <a:lstStyle/>
                    <a:p>
                      <a:pPr algn="ctr" fontAlgn="ctr"/>
                      <a:r>
                        <a:rPr lang="vi-VN" sz="1200" b="0" u="none" strike="noStrike">
                          <a:effectLst/>
                        </a:rPr>
                        <a:t>3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TP Quy Nhơn</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66.59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04.93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8,5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652481715"/>
                  </a:ext>
                </a:extLst>
              </a:tr>
              <a:tr h="264489">
                <a:tc>
                  <a:txBody>
                    <a:bodyPr/>
                    <a:lstStyle/>
                    <a:p>
                      <a:pPr algn="ctr" fontAlgn="ctr"/>
                      <a:r>
                        <a:rPr lang="vi-VN" sz="1200" b="0" u="none" strike="noStrike" dirty="0">
                          <a:effectLst/>
                        </a:rPr>
                        <a:t>32</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UBND thị xã An Nhơn</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701.32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27.12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8,13</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182058036"/>
                  </a:ext>
                </a:extLst>
              </a:tr>
              <a:tr h="215455">
                <a:tc>
                  <a:txBody>
                    <a:bodyPr/>
                    <a:lstStyle/>
                    <a:p>
                      <a:pPr algn="ctr" fontAlgn="ctr"/>
                      <a:r>
                        <a:rPr lang="vi-VN" sz="1200" b="0" u="none" strike="noStrike" dirty="0">
                          <a:effectLst/>
                        </a:rPr>
                        <a:t>3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Ban QLDA XD DD&amp;CN</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63.04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82.96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7,9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240852581"/>
                  </a:ext>
                </a:extLst>
              </a:tr>
              <a:tr h="215455">
                <a:tc>
                  <a:txBody>
                    <a:bodyPr/>
                    <a:lstStyle/>
                    <a:p>
                      <a:pPr algn="ctr" fontAlgn="ctr"/>
                      <a:r>
                        <a:rPr lang="vi-VN" sz="1200" b="0" u="none" strike="noStrike">
                          <a:effectLst/>
                        </a:rPr>
                        <a:t>34</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VP UBND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58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87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5,6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86410943"/>
                  </a:ext>
                </a:extLst>
              </a:tr>
              <a:tr h="215455">
                <a:tc>
                  <a:txBody>
                    <a:bodyPr/>
                    <a:lstStyle/>
                    <a:p>
                      <a:pPr algn="ctr" fontAlgn="ctr"/>
                      <a:r>
                        <a:rPr lang="vi-VN" sz="1200" b="0" u="none" strike="noStrike" dirty="0">
                          <a:effectLst/>
                        </a:rPr>
                        <a:t>35</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Sở GD&amp;ĐT</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2.196</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635</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4,63</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175487138"/>
                  </a:ext>
                </a:extLst>
              </a:tr>
              <a:tr h="215455">
                <a:tc>
                  <a:txBody>
                    <a:bodyPr/>
                    <a:lstStyle/>
                    <a:p>
                      <a:pPr algn="ctr" fontAlgn="ctr"/>
                      <a:r>
                        <a:rPr lang="vi-VN" sz="1200" b="0" u="none" strike="noStrike" dirty="0">
                          <a:effectLst/>
                        </a:rPr>
                        <a:t>36</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dirty="0">
                          <a:effectLst/>
                        </a:rPr>
                        <a:t>UBND huyện Tây Sơn</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21.66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9.303</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3,22</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752699963"/>
                  </a:ext>
                </a:extLst>
              </a:tr>
              <a:tr h="215455">
                <a:tc>
                  <a:txBody>
                    <a:bodyPr/>
                    <a:lstStyle/>
                    <a:p>
                      <a:pPr algn="ctr" fontAlgn="ctr"/>
                      <a:r>
                        <a:rPr lang="vi-VN" sz="1200" b="0" u="none" strike="noStrike" dirty="0">
                          <a:effectLst/>
                        </a:rPr>
                        <a:t>37</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TT NS và VSMT nông thôn</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5.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dirty="0">
                          <a:effectLst/>
                        </a:rPr>
                        <a:t>5.43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2,07</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105657362"/>
                  </a:ext>
                </a:extLst>
              </a:tr>
              <a:tr h="215455">
                <a:tc>
                  <a:txBody>
                    <a:bodyPr/>
                    <a:lstStyle/>
                    <a:p>
                      <a:pPr algn="ctr" fontAlgn="ctr"/>
                      <a:r>
                        <a:rPr lang="vi-VN" sz="1200" b="0" u="none" strike="noStrike">
                          <a:effectLst/>
                        </a:rPr>
                        <a:t>3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Vân Ca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7.648</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8.622</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1,1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263479652"/>
                  </a:ext>
                </a:extLst>
              </a:tr>
              <a:tr h="215455">
                <a:tc>
                  <a:txBody>
                    <a:bodyPr/>
                    <a:lstStyle/>
                    <a:p>
                      <a:pPr algn="ctr" fontAlgn="ctr"/>
                      <a:r>
                        <a:rPr lang="vi-VN" sz="1200" b="0" u="none" strike="noStrike" dirty="0">
                          <a:effectLst/>
                        </a:rPr>
                        <a:t>39</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UBND huyện Tuy Phước</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49.61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5.66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7,34</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68909563"/>
                  </a:ext>
                </a:extLst>
              </a:tr>
              <a:tr h="215455">
                <a:tc>
                  <a:txBody>
                    <a:bodyPr/>
                    <a:lstStyle/>
                    <a:p>
                      <a:pPr algn="ctr" fontAlgn="ctr"/>
                      <a:r>
                        <a:rPr lang="vi-VN" sz="1200" b="0" u="none" strike="noStrike" dirty="0">
                          <a:effectLst/>
                        </a:rPr>
                        <a:t>40</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Nội vụ</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11.784</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21</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57</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167827274"/>
                  </a:ext>
                </a:extLst>
              </a:tr>
              <a:tr h="215455">
                <a:tc>
                  <a:txBody>
                    <a:bodyPr/>
                    <a:lstStyle/>
                    <a:p>
                      <a:pPr algn="ctr" fontAlgn="ctr"/>
                      <a:r>
                        <a:rPr lang="vi-VN" sz="1200" b="0" u="none" strike="noStrike" dirty="0">
                          <a:effectLst/>
                        </a:rPr>
                        <a:t>41</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Liên minh HTX</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5.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692328742"/>
                  </a:ext>
                </a:extLst>
              </a:tr>
              <a:tr h="215455">
                <a:tc>
                  <a:txBody>
                    <a:bodyPr/>
                    <a:lstStyle/>
                    <a:p>
                      <a:pPr algn="ctr" fontAlgn="ctr"/>
                      <a:r>
                        <a:rPr lang="vi-VN" sz="1200" b="0" u="none" strike="noStrike" dirty="0">
                          <a:effectLst/>
                        </a:rPr>
                        <a:t>42</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Sở Công Thương</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3.5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59161741"/>
                  </a:ext>
                </a:extLst>
              </a:tr>
              <a:tr h="215455">
                <a:tc>
                  <a:txBody>
                    <a:bodyPr/>
                    <a:lstStyle/>
                    <a:p>
                      <a:pPr algn="ctr" fontAlgn="ctr"/>
                      <a:r>
                        <a:rPr lang="vi-VN" sz="1200" b="0" u="none" strike="noStrike" dirty="0">
                          <a:effectLst/>
                        </a:rPr>
                        <a:t>43</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VP Đoàn ĐBQH và HĐND tỉnh</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49.9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634829544"/>
                  </a:ext>
                </a:extLst>
              </a:tr>
              <a:tr h="215455">
                <a:tc>
                  <a:txBody>
                    <a:bodyPr/>
                    <a:lstStyle/>
                    <a:p>
                      <a:pPr algn="ctr" fontAlgn="ctr"/>
                      <a:r>
                        <a:rPr lang="vi-VN" sz="1200" b="0" u="none" strike="noStrike" dirty="0">
                          <a:effectLst/>
                        </a:rPr>
                        <a:t>44</a:t>
                      </a:r>
                      <a:endParaRPr lang="vi-VN" sz="1200" b="0" i="0" u="none" strike="noStrike" dirty="0">
                        <a:solidFill>
                          <a:srgbClr val="000000"/>
                        </a:solidFill>
                        <a:effectLst/>
                        <a:latin typeface="Times New Roman" panose="02020603050405020304" pitchFamily="18" charset="0"/>
                      </a:endParaRPr>
                    </a:p>
                  </a:txBody>
                  <a:tcPr marL="0" marR="0" marT="0" marB="0" anchor="ctr"/>
                </a:tc>
                <a:tc>
                  <a:txBody>
                    <a:bodyPr/>
                    <a:lstStyle/>
                    <a:p>
                      <a:pPr algn="l" fontAlgn="ctr"/>
                      <a:r>
                        <a:rPr lang="vi-VN" sz="1200" u="none" strike="noStrike">
                          <a:effectLst/>
                        </a:rPr>
                        <a:t>VP Tỉnh ủy</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23.00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a:t>
                      </a:r>
                      <a:endParaRPr lang="vi-VN" sz="12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u="none" strike="noStrike">
                          <a:effectLst/>
                        </a:rPr>
                        <a:t>0,00</a:t>
                      </a:r>
                      <a:endParaRPr lang="vi-VN" sz="12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158792779"/>
                  </a:ext>
                </a:extLst>
              </a:tr>
              <a:tr h="861820">
                <a:tc>
                  <a:txBody>
                    <a:bodyPr/>
                    <a:lstStyle/>
                    <a:p>
                      <a:pPr algn="ctr" fontAlgn="ctr"/>
                      <a:r>
                        <a:rPr lang="vi-VN" sz="1200" b="1" u="none" strike="noStrike" dirty="0">
                          <a:effectLst/>
                        </a:rPr>
                        <a:t>II</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200" b="1" u="none" strike="noStrike" dirty="0">
                          <a:effectLst/>
                        </a:rPr>
                        <a:t>Các khoản thu hồi ứng trước NSTW, trả nợ vay ngân sách và các nhiệm vụ khác chờ phân bổ chi tiết</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738.181</a:t>
                      </a:r>
                    </a:p>
                  </a:txBody>
                  <a:tcPr marL="0" marR="0" marT="0" marB="0" anchor="ctr"/>
                </a:tc>
                <a:tc>
                  <a:txBody>
                    <a:bodyPr/>
                    <a:lstStyle/>
                    <a:p>
                      <a:pPr algn="r" fontAlgn="ctr"/>
                      <a:r>
                        <a:rPr lang="vi-VN" sz="1200" b="1" u="none" strike="noStrike" dirty="0">
                          <a:effectLst/>
                        </a:rPr>
                        <a:t>333.578</a:t>
                      </a:r>
                      <a:endParaRPr lang="vi-VN" sz="12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200" b="1" u="none" strike="noStrike" dirty="0">
                          <a:effectLst/>
                        </a:rPr>
                        <a:t>45,19</a:t>
                      </a:r>
                      <a:endParaRPr lang="vi-VN" sz="1200" b="1"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852784607"/>
                  </a:ext>
                </a:extLst>
              </a:tr>
            </a:tbl>
          </a:graphicData>
        </a:graphic>
      </p:graphicFrame>
      <p:sp>
        <p:nvSpPr>
          <p:cNvPr id="2" name="TextBox 1">
            <a:extLst>
              <a:ext uri="{FF2B5EF4-FFF2-40B4-BE49-F238E27FC236}">
                <a16:creationId xmlns:a16="http://schemas.microsoft.com/office/drawing/2014/main" id="{8C82F918-033C-84A0-3FB3-983E0D5E4089}"/>
              </a:ext>
            </a:extLst>
          </p:cNvPr>
          <p:cNvSpPr txBox="1"/>
          <p:nvPr/>
        </p:nvSpPr>
        <p:spPr>
          <a:xfrm>
            <a:off x="494923" y="13154"/>
            <a:ext cx="11451000" cy="1200329"/>
          </a:xfrm>
          <a:prstGeom prst="rect">
            <a:avLst/>
          </a:prstGeom>
          <a:noFill/>
        </p:spPr>
        <p:txBody>
          <a:bodyPr wrap="square">
            <a:spAutoFit/>
          </a:bodyPr>
          <a:lstStyle/>
          <a:p>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spTree>
    <p:extLst>
      <p:ext uri="{BB962C8B-B14F-4D97-AF65-F5344CB8AC3E}">
        <p14:creationId xmlns:p14="http://schemas.microsoft.com/office/powerpoint/2010/main" val="2431902142"/>
      </p:ext>
    </p:extLst>
  </p:cSld>
  <p:clrMapOvr>
    <a:masterClrMapping/>
  </p:clrMapOvr>
  <p:transition spd="slow">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6888588-A0B1-0B2A-380A-1225B8EED879}"/>
              </a:ext>
            </a:extLst>
          </p:cNvPr>
          <p:cNvSpPr txBox="1"/>
          <p:nvPr/>
        </p:nvSpPr>
        <p:spPr>
          <a:xfrm>
            <a:off x="9779897" y="912190"/>
            <a:ext cx="1482598" cy="307777"/>
          </a:xfrm>
          <a:prstGeom prst="rect">
            <a:avLst/>
          </a:prstGeom>
          <a:noFill/>
        </p:spPr>
        <p:txBody>
          <a:bodyPr wrap="square" rtlCol="0">
            <a:spAutoFit/>
          </a:bodyPr>
          <a:lstStyle/>
          <a:p>
            <a:r>
              <a:rPr lang="en-US" sz="1400" b="1" i="1" dirty="0" err="1">
                <a:latin typeface="Times New Roman" panose="02020603050405020304" pitchFamily="18" charset="0"/>
                <a:cs typeface="Times New Roman" panose="02020603050405020304" pitchFamily="18" charset="0"/>
              </a:rPr>
              <a:t>ĐVT</a:t>
            </a:r>
            <a:r>
              <a:rPr lang="en-US" sz="1400" b="1" i="1" dirty="0">
                <a:latin typeface="Times New Roman" panose="02020603050405020304" pitchFamily="18" charset="0"/>
                <a:cs typeface="Times New Roman" panose="02020603050405020304" pitchFamily="18" charset="0"/>
              </a:rPr>
              <a:t>: </a:t>
            </a:r>
            <a:r>
              <a:rPr lang="en-US" sz="1400" b="1" i="1" dirty="0" err="1">
                <a:latin typeface="Times New Roman" panose="02020603050405020304" pitchFamily="18" charset="0"/>
                <a:cs typeface="Times New Roman" panose="02020603050405020304" pitchFamily="18" charset="0"/>
              </a:rPr>
              <a:t>triệu</a:t>
            </a:r>
            <a:r>
              <a:rPr lang="en-US" sz="1400" b="1" i="1" dirty="0">
                <a:latin typeface="Times New Roman" panose="02020603050405020304" pitchFamily="18" charset="0"/>
                <a:cs typeface="Times New Roman" panose="02020603050405020304" pitchFamily="18" charset="0"/>
              </a:rPr>
              <a:t> </a:t>
            </a:r>
            <a:r>
              <a:rPr lang="en-US" sz="1400" b="1" i="1" dirty="0" err="1">
                <a:latin typeface="Times New Roman" panose="02020603050405020304" pitchFamily="18" charset="0"/>
                <a:cs typeface="Times New Roman" panose="02020603050405020304" pitchFamily="18" charset="0"/>
              </a:rPr>
              <a:t>đồng</a:t>
            </a:r>
            <a:endParaRPr lang="vi-VN" sz="1400" b="1" i="1" dirty="0">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F167E8E8-8B0D-08B9-2B7D-AE89741F8F8E}"/>
              </a:ext>
            </a:extLst>
          </p:cNvPr>
          <p:cNvGraphicFramePr>
            <a:graphicFrameLocks noGrp="1"/>
          </p:cNvGraphicFramePr>
          <p:nvPr/>
        </p:nvGraphicFramePr>
        <p:xfrm>
          <a:off x="1186005" y="1204111"/>
          <a:ext cx="9931650" cy="4961298"/>
        </p:xfrm>
        <a:graphic>
          <a:graphicData uri="http://schemas.openxmlformats.org/drawingml/2006/table">
            <a:tbl>
              <a:tblPr firstRow="1" firstCol="1">
                <a:tableStyleId>{FABFCF23-3B69-468F-B69F-88F6DE6A72F2}</a:tableStyleId>
              </a:tblPr>
              <a:tblGrid>
                <a:gridCol w="1073691">
                  <a:extLst>
                    <a:ext uri="{9D8B030D-6E8A-4147-A177-3AD203B41FA5}">
                      <a16:colId xmlns:a16="http://schemas.microsoft.com/office/drawing/2014/main" val="3927105117"/>
                    </a:ext>
                  </a:extLst>
                </a:gridCol>
                <a:gridCol w="3793239">
                  <a:extLst>
                    <a:ext uri="{9D8B030D-6E8A-4147-A177-3AD203B41FA5}">
                      <a16:colId xmlns:a16="http://schemas.microsoft.com/office/drawing/2014/main" val="423060267"/>
                    </a:ext>
                  </a:extLst>
                </a:gridCol>
                <a:gridCol w="1808324">
                  <a:extLst>
                    <a:ext uri="{9D8B030D-6E8A-4147-A177-3AD203B41FA5}">
                      <a16:colId xmlns:a16="http://schemas.microsoft.com/office/drawing/2014/main" val="836794361"/>
                    </a:ext>
                  </a:extLst>
                </a:gridCol>
                <a:gridCol w="1843642">
                  <a:extLst>
                    <a:ext uri="{9D8B030D-6E8A-4147-A177-3AD203B41FA5}">
                      <a16:colId xmlns:a16="http://schemas.microsoft.com/office/drawing/2014/main" val="1997516802"/>
                    </a:ext>
                  </a:extLst>
                </a:gridCol>
                <a:gridCol w="1412754">
                  <a:extLst>
                    <a:ext uri="{9D8B030D-6E8A-4147-A177-3AD203B41FA5}">
                      <a16:colId xmlns:a16="http://schemas.microsoft.com/office/drawing/2014/main" val="1377619777"/>
                    </a:ext>
                  </a:extLst>
                </a:gridCol>
              </a:tblGrid>
              <a:tr h="1093538">
                <a:tc>
                  <a:txBody>
                    <a:bodyPr/>
                    <a:lstStyle/>
                    <a:p>
                      <a:pPr algn="ctr" fontAlgn="ctr"/>
                      <a:r>
                        <a:rPr lang="vi-VN" sz="1400" u="none" strike="noStrike">
                          <a:effectLst/>
                        </a:rPr>
                        <a:t>STT</a:t>
                      </a:r>
                      <a:endParaRPr lang="vi-VN" sz="14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400" u="none" strike="noStrike">
                          <a:effectLst/>
                        </a:rPr>
                        <a:t>Địa phương</a:t>
                      </a:r>
                      <a:endParaRPr lang="vi-VN" sz="14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400" u="none" strike="noStrike" dirty="0">
                          <a:effectLst/>
                        </a:rPr>
                        <a:t>KH 2023 được tỉnh phân cấp</a:t>
                      </a:r>
                      <a:endParaRPr lang="vi-VN" sz="14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400" u="none" strike="noStrike" dirty="0">
                          <a:effectLst/>
                        </a:rPr>
                        <a:t>Tổng giải ngân KH 2023</a:t>
                      </a:r>
                      <a:br>
                        <a:rPr lang="vi-VN" sz="1400" u="none" strike="noStrike" dirty="0">
                          <a:effectLst/>
                        </a:rPr>
                      </a:br>
                      <a:r>
                        <a:rPr lang="vi-VN" sz="1400" u="none" strike="noStrike" dirty="0">
                          <a:effectLst/>
                        </a:rPr>
                        <a:t>(01/01/2023 đến 12/6/2023)</a:t>
                      </a:r>
                      <a:endParaRPr lang="vi-VN" sz="1400" b="1" i="0" u="none" strike="noStrike" dirty="0">
                        <a:solidFill>
                          <a:srgbClr val="000000"/>
                        </a:solidFill>
                        <a:effectLst/>
                        <a:latin typeface="Times New Roman" panose="02020603050405020304" pitchFamily="18" charset="0"/>
                      </a:endParaRPr>
                    </a:p>
                  </a:txBody>
                  <a:tcPr marL="0" marR="0" marT="0" marB="0" anchor="ctr"/>
                </a:tc>
                <a:tc>
                  <a:txBody>
                    <a:bodyPr/>
                    <a:lstStyle/>
                    <a:p>
                      <a:pPr algn="ctr" fontAlgn="ctr"/>
                      <a:r>
                        <a:rPr lang="vi-VN" sz="1400" u="none" strike="noStrike">
                          <a:effectLst/>
                        </a:rPr>
                        <a:t>Tỷ lệ</a:t>
                      </a:r>
                      <a:br>
                        <a:rPr lang="vi-VN" sz="1400" u="none" strike="noStrike">
                          <a:effectLst/>
                        </a:rPr>
                      </a:br>
                      <a:r>
                        <a:rPr lang="vi-VN" sz="1400" u="none" strike="noStrike">
                          <a:effectLst/>
                        </a:rPr>
                        <a:t>(%)</a:t>
                      </a:r>
                      <a:endParaRPr lang="vi-VN" sz="1400" b="1"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460230445"/>
                  </a:ext>
                </a:extLst>
              </a:tr>
              <a:tr h="295132">
                <a:tc>
                  <a:txBody>
                    <a:bodyPr/>
                    <a:lstStyle/>
                    <a:p>
                      <a:pPr algn="ctr" fontAlgn="ctr"/>
                      <a:r>
                        <a:rPr lang="vi-VN" sz="1400" u="none" strike="noStrike">
                          <a:effectLst/>
                        </a:rPr>
                        <a:t> </a:t>
                      </a:r>
                      <a:endParaRPr lang="vi-VN" sz="1400" b="1" i="0" u="none" strike="noStrike">
                        <a:solidFill>
                          <a:srgbClr val="000000"/>
                        </a:solidFill>
                        <a:effectLst/>
                        <a:latin typeface="Times New Roman" panose="02020603050405020304" pitchFamily="18" charset="0"/>
                      </a:endParaRPr>
                    </a:p>
                  </a:txBody>
                  <a:tcPr marL="0" marR="0" marT="0" marB="0" anchor="ctr"/>
                </a:tc>
                <a:tc>
                  <a:txBody>
                    <a:bodyPr/>
                    <a:lstStyle/>
                    <a:p>
                      <a:pPr algn="ctr" fontAlgn="ctr"/>
                      <a:r>
                        <a:rPr lang="vi-VN" sz="1400" b="1" u="none" strike="noStrike" dirty="0">
                          <a:effectLst/>
                        </a:rPr>
                        <a:t>TỔNG CỘNG</a:t>
                      </a:r>
                      <a:endParaRPr lang="vi-VN" sz="14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b="1" u="none" strike="noStrike" dirty="0">
                          <a:effectLst/>
                        </a:rPr>
                        <a:t>3.027.797</a:t>
                      </a:r>
                      <a:endParaRPr lang="vi-VN" sz="1400" b="1"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b="1" u="none" strike="noStrike">
                          <a:effectLst/>
                        </a:rPr>
                        <a:t>655.348</a:t>
                      </a:r>
                      <a:endParaRPr lang="vi-VN" sz="1400" b="1"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b="1" u="none" strike="noStrike" dirty="0">
                          <a:effectLst/>
                        </a:rPr>
                        <a:t>21,64</a:t>
                      </a:r>
                      <a:endParaRPr lang="vi-VN" sz="1400" b="1"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312400680"/>
                  </a:ext>
                </a:extLst>
              </a:tr>
              <a:tr h="310663">
                <a:tc>
                  <a:txBody>
                    <a:bodyPr/>
                    <a:lstStyle/>
                    <a:p>
                      <a:pPr algn="ctr" fontAlgn="b"/>
                      <a:r>
                        <a:rPr lang="vi-VN" sz="1400" b="0" u="none" strike="noStrike" dirty="0">
                          <a:effectLst/>
                        </a:rPr>
                        <a:t>1</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Phù Cát</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23.658</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115.840</a:t>
                      </a:r>
                      <a:endParaRPr lang="vi-VN" sz="14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35,79</a:t>
                      </a:r>
                      <a:endParaRPr lang="vi-VN" sz="14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575632785"/>
                  </a:ext>
                </a:extLst>
              </a:tr>
              <a:tr h="310663">
                <a:tc>
                  <a:txBody>
                    <a:bodyPr/>
                    <a:lstStyle/>
                    <a:p>
                      <a:pPr algn="ctr" fontAlgn="b"/>
                      <a:r>
                        <a:rPr lang="vi-VN" sz="1400" b="0" u="none" strike="noStrike" dirty="0">
                          <a:effectLst/>
                        </a:rPr>
                        <a:t>2</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Hoài Ân</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89.805</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1.847</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5,46</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843275668"/>
                  </a:ext>
                </a:extLst>
              </a:tr>
              <a:tr h="310663">
                <a:tc>
                  <a:txBody>
                    <a:bodyPr/>
                    <a:lstStyle/>
                    <a:p>
                      <a:pPr algn="ctr" fontAlgn="b"/>
                      <a:r>
                        <a:rPr lang="vi-VN" sz="1400" b="0" u="none" strike="noStrike" dirty="0">
                          <a:effectLst/>
                        </a:rPr>
                        <a:t>3</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Phù Mỹ</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93.619</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62.385</a:t>
                      </a:r>
                      <a:endParaRPr lang="vi-VN" sz="14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2,22</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344600970"/>
                  </a:ext>
                </a:extLst>
              </a:tr>
              <a:tr h="310663">
                <a:tc>
                  <a:txBody>
                    <a:bodyPr/>
                    <a:lstStyle/>
                    <a:p>
                      <a:pPr algn="ctr" fontAlgn="b"/>
                      <a:r>
                        <a:rPr lang="vi-VN" sz="1400" b="0" u="none" strike="noStrike">
                          <a:effectLst/>
                        </a:rPr>
                        <a:t>4</a:t>
                      </a:r>
                      <a:endParaRPr lang="vi-VN" sz="1400" b="0" i="0" u="none" strike="noStrike">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dirty="0">
                          <a:effectLst/>
                        </a:rPr>
                        <a:t>UBND thị xã Hoài Nhơn</a:t>
                      </a:r>
                      <a:endParaRPr lang="vi-VN" sz="14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443.367</a:t>
                      </a:r>
                      <a:endParaRPr lang="vi-VN" sz="1400" b="0" i="0" u="none" strike="noStrike" dirty="0">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21.379</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27,38</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1221640790"/>
                  </a:ext>
                </a:extLst>
              </a:tr>
              <a:tr h="310663">
                <a:tc>
                  <a:txBody>
                    <a:bodyPr/>
                    <a:lstStyle/>
                    <a:p>
                      <a:pPr algn="ctr" fontAlgn="b"/>
                      <a:r>
                        <a:rPr lang="vi-VN" sz="1400" b="0" u="none" strike="noStrike" dirty="0">
                          <a:effectLst/>
                        </a:rPr>
                        <a:t>5</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Vĩnh Thạnh</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65.400</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5.406</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23,56</a:t>
                      </a:r>
                      <a:endParaRPr lang="vi-VN" sz="14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90881062"/>
                  </a:ext>
                </a:extLst>
              </a:tr>
              <a:tr h="310663">
                <a:tc>
                  <a:txBody>
                    <a:bodyPr/>
                    <a:lstStyle/>
                    <a:p>
                      <a:pPr algn="ctr" fontAlgn="b"/>
                      <a:r>
                        <a:rPr lang="vi-VN" sz="1400" b="0" u="none" strike="noStrike" dirty="0">
                          <a:effectLst/>
                        </a:rPr>
                        <a:t>6</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An Lão</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225.165</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50.589</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22,47</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3081680864"/>
                  </a:ext>
                </a:extLst>
              </a:tr>
              <a:tr h="310663">
                <a:tc>
                  <a:txBody>
                    <a:bodyPr/>
                    <a:lstStyle/>
                    <a:p>
                      <a:pPr algn="ctr" fontAlgn="b"/>
                      <a:r>
                        <a:rPr lang="vi-VN" sz="1400" b="0" u="none" strike="noStrike" dirty="0">
                          <a:effectLst/>
                        </a:rPr>
                        <a:t>7</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TP Quy Nhơn</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544.907</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18.172</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21,69</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526416250"/>
                  </a:ext>
                </a:extLst>
              </a:tr>
              <a:tr h="341730">
                <a:tc>
                  <a:txBody>
                    <a:bodyPr/>
                    <a:lstStyle/>
                    <a:p>
                      <a:pPr algn="ctr" fontAlgn="b"/>
                      <a:r>
                        <a:rPr lang="vi-VN" sz="1400" b="0" u="none" strike="noStrike" dirty="0">
                          <a:effectLst/>
                        </a:rPr>
                        <a:t>8</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Tây Sơn</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41.720</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21.524</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5,19</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697198012"/>
                  </a:ext>
                </a:extLst>
              </a:tr>
              <a:tr h="326197">
                <a:tc>
                  <a:txBody>
                    <a:bodyPr/>
                    <a:lstStyle/>
                    <a:p>
                      <a:pPr algn="ctr" fontAlgn="b"/>
                      <a:r>
                        <a:rPr lang="vi-VN" sz="1400" b="0" u="none" strike="noStrike" dirty="0">
                          <a:effectLst/>
                        </a:rPr>
                        <a:t>9</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Vân Canh</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59.920</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8.054</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3,44</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810994076"/>
                  </a:ext>
                </a:extLst>
              </a:tr>
              <a:tr h="357264">
                <a:tc>
                  <a:txBody>
                    <a:bodyPr/>
                    <a:lstStyle/>
                    <a:p>
                      <a:pPr algn="ctr" fontAlgn="b"/>
                      <a:r>
                        <a:rPr lang="vi-VN" sz="1400" b="0" u="none" strike="noStrike" dirty="0">
                          <a:effectLst/>
                        </a:rPr>
                        <a:t>10</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thị xã An Nhơn</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619.934</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79.097</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12,76</a:t>
                      </a:r>
                      <a:endParaRPr lang="vi-VN" sz="1400" b="0" i="0" u="none" strike="noStrike">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2273866585"/>
                  </a:ext>
                </a:extLst>
              </a:tr>
              <a:tr h="372796">
                <a:tc>
                  <a:txBody>
                    <a:bodyPr/>
                    <a:lstStyle/>
                    <a:p>
                      <a:pPr algn="ctr" fontAlgn="b"/>
                      <a:r>
                        <a:rPr lang="vi-VN" sz="1400" b="0" u="none" strike="noStrike" dirty="0">
                          <a:effectLst/>
                        </a:rPr>
                        <a:t>11</a:t>
                      </a:r>
                      <a:endParaRPr lang="vi-VN" sz="1400" b="0" i="0" u="none" strike="noStrike" dirty="0">
                        <a:solidFill>
                          <a:srgbClr val="000000"/>
                        </a:solidFill>
                        <a:effectLst/>
                        <a:latin typeface="Times New Roman" panose="02020603050405020304" pitchFamily="18" charset="0"/>
                      </a:endParaRPr>
                    </a:p>
                  </a:txBody>
                  <a:tcPr marL="0" marR="0" marT="0" marB="0" anchor="b"/>
                </a:tc>
                <a:tc>
                  <a:txBody>
                    <a:bodyPr/>
                    <a:lstStyle/>
                    <a:p>
                      <a:pPr algn="l" fontAlgn="ctr"/>
                      <a:r>
                        <a:rPr lang="vi-VN" sz="1400" u="none" strike="noStrike">
                          <a:effectLst/>
                        </a:rPr>
                        <a:t>UBND huyện Tuy Phước</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20.302</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a:effectLst/>
                        </a:rPr>
                        <a:t>31.056</a:t>
                      </a:r>
                      <a:endParaRPr lang="vi-VN" sz="1400" b="0" i="0" u="none" strike="noStrike">
                        <a:solidFill>
                          <a:srgbClr val="000000"/>
                        </a:solidFill>
                        <a:effectLst/>
                        <a:latin typeface="Times New Roman" panose="02020603050405020304" pitchFamily="18" charset="0"/>
                      </a:endParaRPr>
                    </a:p>
                  </a:txBody>
                  <a:tcPr marL="0" marR="0" marT="0" marB="0" anchor="ctr"/>
                </a:tc>
                <a:tc>
                  <a:txBody>
                    <a:bodyPr/>
                    <a:lstStyle/>
                    <a:p>
                      <a:pPr algn="r" fontAlgn="ctr"/>
                      <a:r>
                        <a:rPr lang="vi-VN" sz="1400" u="none" strike="noStrike" dirty="0">
                          <a:effectLst/>
                        </a:rPr>
                        <a:t>9,70</a:t>
                      </a:r>
                      <a:endParaRPr lang="vi-VN" sz="1400" b="0" i="0" u="none" strike="noStrike" dirty="0">
                        <a:solidFill>
                          <a:srgbClr val="000000"/>
                        </a:solidFill>
                        <a:effectLst/>
                        <a:latin typeface="Times New Roman" panose="02020603050405020304" pitchFamily="18" charset="0"/>
                      </a:endParaRPr>
                    </a:p>
                  </a:txBody>
                  <a:tcPr marL="0" marR="0" marT="0" marB="0" anchor="ctr"/>
                </a:tc>
                <a:extLst>
                  <a:ext uri="{0D108BD9-81ED-4DB2-BD59-A6C34878D82A}">
                    <a16:rowId xmlns:a16="http://schemas.microsoft.com/office/drawing/2014/main" val="432463083"/>
                  </a:ext>
                </a:extLst>
              </a:tr>
            </a:tbl>
          </a:graphicData>
        </a:graphic>
      </p:graphicFrame>
      <p:sp>
        <p:nvSpPr>
          <p:cNvPr id="2" name="TextBox 1">
            <a:extLst>
              <a:ext uri="{FF2B5EF4-FFF2-40B4-BE49-F238E27FC236}">
                <a16:creationId xmlns:a16="http://schemas.microsoft.com/office/drawing/2014/main" id="{4E4A5F7E-2164-5EF9-C897-EA8E3B455DCF}"/>
              </a:ext>
            </a:extLst>
          </p:cNvPr>
          <p:cNvSpPr txBox="1"/>
          <p:nvPr/>
        </p:nvSpPr>
        <p:spPr>
          <a:xfrm>
            <a:off x="427839" y="292481"/>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c)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phân cấp cho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spTree>
    <p:extLst>
      <p:ext uri="{BB962C8B-B14F-4D97-AF65-F5344CB8AC3E}">
        <p14:creationId xmlns:p14="http://schemas.microsoft.com/office/powerpoint/2010/main" val="2423476542"/>
      </p:ext>
    </p:extLst>
  </p:cSld>
  <p:clrMapOvr>
    <a:masterClrMapping/>
  </p:clrMapOvr>
  <p:transition spd="slow">
    <p:wip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916312656"/>
              </p:ext>
            </p:extLst>
          </p:nvPr>
        </p:nvGraphicFramePr>
        <p:xfrm>
          <a:off x="829671" y="1271542"/>
          <a:ext cx="10143178" cy="2225040"/>
        </p:xfrm>
        <a:graphic>
          <a:graphicData uri="http://schemas.openxmlformats.org/drawingml/2006/table">
            <a:tbl>
              <a:tblPr firstRow="1" bandRow="1"/>
              <a:tblGrid>
                <a:gridCol w="10143178">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a:t>
                      </a:r>
                      <a:r>
                        <a:rPr lang="en-US" sz="2400" kern="1200" spc="-10">
                          <a:solidFill>
                            <a:prstClr val="black"/>
                          </a:solidFill>
                          <a:latin typeface="Times New Roman" panose="02020603050405020304" pitchFamily="18" charset="0"/>
                          <a:ea typeface="+mn-ea"/>
                          <a:cs typeface="Times New Roman" panose="02020603050405020304" pitchFamily="18" charset="0"/>
                        </a:rPr>
                        <a:t>Thu ngân sách từ nguồn thu tiền sử dụng đất gặp khó khăn ảnh hưởng đến tỷ lệ giải ngân vốn đầu tư cô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Các khó khăn trong công tác cấp quyền khai thác khoáng sản (mỏ đất, cát...) ảnh hưởng đến tiến độ thi công các công trình, dự á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Các khó khăn vướng mắc trong việc thực hiện bồi thường, giải phóng mặt bằng</a:t>
                      </a:r>
                      <a:endParaRPr lang="vi-VN"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TextBox 1">
            <a:extLst>
              <a:ext uri="{FF2B5EF4-FFF2-40B4-BE49-F238E27FC236}">
                <a16:creationId xmlns:a16="http://schemas.microsoft.com/office/drawing/2014/main" id="{34358AFD-CA30-69B4-CBC4-1549EB01D84B}"/>
              </a:ext>
            </a:extLst>
          </p:cNvPr>
          <p:cNvSpPr txBox="1"/>
          <p:nvPr/>
        </p:nvSpPr>
        <p:spPr>
          <a:xfrm>
            <a:off x="930339" y="338335"/>
            <a:ext cx="1014317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Khó khăn trong công tác thực hiện kế hoạch đầu tư công năm 2023</a:t>
            </a:r>
          </a:p>
        </p:txBody>
      </p:sp>
    </p:spTree>
    <p:extLst>
      <p:ext uri="{BB962C8B-B14F-4D97-AF65-F5344CB8AC3E}">
        <p14:creationId xmlns:p14="http://schemas.microsoft.com/office/powerpoint/2010/main" val="238100601"/>
      </p:ext>
    </p:extLst>
  </p:cSld>
  <p:clrMapOvr>
    <a:masterClrMapping/>
  </p:clrMapOvr>
  <p:transition spd="slow">
    <p:wip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a:extLst>
              <a:ext uri="{FF2B5EF4-FFF2-40B4-BE49-F238E27FC236}">
                <a16:creationId xmlns:a16="http://schemas.microsoft.com/office/drawing/2014/main" id="{533AE197-97BB-BD44-681E-27907409136A}"/>
              </a:ext>
            </a:extLst>
          </p:cNvPr>
          <p:cNvPicPr>
            <a:picLocks noChangeAspect="1"/>
          </p:cNvPicPr>
          <p:nvPr/>
        </p:nvPicPr>
        <p:blipFill>
          <a:blip r:embed="rId3"/>
          <a:stretch>
            <a:fillRect/>
          </a:stretch>
        </p:blipFill>
        <p:spPr>
          <a:xfrm>
            <a:off x="4320442" y="2264917"/>
            <a:ext cx="3850711" cy="18031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7" name="Picture 46" descr="A picture containing indoor, wall&#10;&#10;Description automatically generated">
            <a:extLst>
              <a:ext uri="{FF2B5EF4-FFF2-40B4-BE49-F238E27FC236}">
                <a16:creationId xmlns:a16="http://schemas.microsoft.com/office/drawing/2014/main" id="{CC005B64-750F-0970-3CD5-C7E58D330D2A}"/>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561757" y="1481126"/>
            <a:ext cx="1168465" cy="868077"/>
          </a:xfrm>
          <a:prstGeom prst="rect">
            <a:avLst/>
          </a:prstGeom>
          <a:ln>
            <a:noFill/>
          </a:ln>
          <a:effectLst>
            <a:softEdge rad="112500"/>
          </a:effectLst>
        </p:spPr>
      </p:pic>
      <p:grpSp>
        <p:nvGrpSpPr>
          <p:cNvPr id="44" name="Group 43">
            <a:extLst>
              <a:ext uri="{FF2B5EF4-FFF2-40B4-BE49-F238E27FC236}">
                <a16:creationId xmlns:a16="http://schemas.microsoft.com/office/drawing/2014/main" id="{625077EF-140C-4D6F-E73A-0FB58A172694}"/>
              </a:ext>
            </a:extLst>
          </p:cNvPr>
          <p:cNvGrpSpPr/>
          <p:nvPr/>
        </p:nvGrpSpPr>
        <p:grpSpPr>
          <a:xfrm>
            <a:off x="1319551" y="1540639"/>
            <a:ext cx="8666642" cy="2590421"/>
            <a:chOff x="3273503" y="1316092"/>
            <a:chExt cx="5596191" cy="1960347"/>
          </a:xfrm>
        </p:grpSpPr>
        <p:sp>
          <p:nvSpPr>
            <p:cNvPr id="37" name="TextBox 36">
              <a:extLst>
                <a:ext uri="{FF2B5EF4-FFF2-40B4-BE49-F238E27FC236}">
                  <a16:creationId xmlns:a16="http://schemas.microsoft.com/office/drawing/2014/main" id="{AD8E6693-4876-0F97-216B-C82F5C0BBF88}"/>
                </a:ext>
              </a:extLst>
            </p:cNvPr>
            <p:cNvSpPr txBox="1"/>
            <p:nvPr/>
          </p:nvSpPr>
          <p:spPr>
            <a:xfrm>
              <a:off x="3273503" y="2219895"/>
              <a:ext cx="1786934" cy="1056544"/>
            </a:xfrm>
            <a:prstGeom prst="roundRect">
              <a:avLst/>
            </a:prstGeom>
            <a:noFill/>
          </p:spPr>
          <p:txBody>
            <a:bodyPr wrap="square" rtlCol="0">
              <a:spAutoFit/>
            </a:bodyPr>
            <a:lstStyle/>
            <a:p>
              <a:pPr marL="232828" algn="r"/>
              <a:r>
                <a:rPr lang="en-US" sz="4400" b="1">
                  <a:solidFill>
                    <a:srgbClr val="C00000"/>
                  </a:solidFill>
                  <a:ea typeface="Roboto"/>
                  <a:cs typeface="Roboto"/>
                  <a:sym typeface="Roboto"/>
                </a:rPr>
                <a:t>17,480,4</a:t>
              </a:r>
              <a:r>
                <a:rPr lang="en-US" sz="3200" b="1">
                  <a:solidFill>
                    <a:srgbClr val="C00000"/>
                  </a:solidFill>
                  <a:ea typeface="Roboto"/>
                  <a:cs typeface="Roboto"/>
                  <a:sym typeface="Roboto"/>
                </a:rPr>
                <a:t> </a:t>
              </a:r>
              <a:endParaRPr lang="en-US" sz="3200" b="1" dirty="0">
                <a:solidFill>
                  <a:srgbClr val="C00000"/>
                </a:solidFill>
                <a:ea typeface="Roboto"/>
                <a:cs typeface="Roboto"/>
                <a:sym typeface="Roboto"/>
              </a:endParaRPr>
            </a:p>
            <a:p>
              <a:pPr marL="232828" algn="r"/>
              <a:r>
                <a:rPr lang="vi-VN" sz="3200">
                  <a:solidFill>
                    <a:srgbClr val="773338"/>
                  </a:solidFill>
                  <a:ea typeface="Roboto"/>
                  <a:cs typeface="Roboto"/>
                  <a:sym typeface="Roboto"/>
                </a:rPr>
                <a:t>tỷ </a:t>
              </a:r>
              <a:r>
                <a:rPr lang="vi-VN" sz="3200" dirty="0">
                  <a:solidFill>
                    <a:srgbClr val="773338"/>
                  </a:solidFill>
                  <a:ea typeface="Roboto"/>
                  <a:cs typeface="Roboto"/>
                  <a:sym typeface="Roboto"/>
                </a:rPr>
                <a:t>đồng</a:t>
              </a:r>
              <a:endParaRPr lang="en-US" sz="3200" dirty="0">
                <a:solidFill>
                  <a:srgbClr val="773338"/>
                </a:solidFill>
              </a:endParaRPr>
            </a:p>
          </p:txBody>
        </p:sp>
        <p:sp>
          <p:nvSpPr>
            <p:cNvPr id="42" name="TextBox 41">
              <a:extLst>
                <a:ext uri="{FF2B5EF4-FFF2-40B4-BE49-F238E27FC236}">
                  <a16:creationId xmlns:a16="http://schemas.microsoft.com/office/drawing/2014/main" id="{BB512797-5E5F-0EFF-B3C6-610776487614}"/>
                </a:ext>
              </a:extLst>
            </p:cNvPr>
            <p:cNvSpPr txBox="1"/>
            <p:nvPr/>
          </p:nvSpPr>
          <p:spPr>
            <a:xfrm>
              <a:off x="4427688" y="1316092"/>
              <a:ext cx="4442006" cy="518750"/>
            </a:xfrm>
            <a:prstGeom prst="flowChartAlternateProcess">
              <a:avLst/>
            </a:prstGeom>
            <a:solidFill>
              <a:schemeClr val="accent1">
                <a:alpha val="40000"/>
              </a:schemeClr>
            </a:solidFill>
          </p:spPr>
          <p:txBody>
            <a:bodyPr wrap="square" rtlCol="0">
              <a:spAutoFit/>
            </a:bodyPr>
            <a:lstStyle>
              <a:defPPr marR="0" lvl="0" algn="l" rtl="0">
                <a:lnSpc>
                  <a:spcPct val="100000"/>
                </a:lnSpc>
                <a:spcBef>
                  <a:spcPts val="0"/>
                </a:spcBef>
                <a:spcAft>
                  <a:spcPts val="0"/>
                </a:spcAft>
              </a:defPPr>
              <a:lvl1pPr algn="ctr">
                <a:defRPr sz="3000" b="1">
                  <a:solidFill>
                    <a:srgbClr val="FFFF00"/>
                  </a:solidFill>
                  <a:latin typeface="+mn-lt"/>
                  <a:ea typeface="Roboto"/>
                  <a:cs typeface="Roboto"/>
                </a:defRPr>
              </a:lvl1pPr>
            </a:lstStyle>
            <a:p>
              <a:r>
                <a:rPr lang="en-US" sz="3200">
                  <a:solidFill>
                    <a:srgbClr val="741518"/>
                  </a:solidFill>
                </a:rPr>
                <a:t>Tổng vốn đầu tư phát triển toàn xã hội </a:t>
              </a:r>
            </a:p>
          </p:txBody>
        </p:sp>
      </p:grpSp>
      <p:grpSp>
        <p:nvGrpSpPr>
          <p:cNvPr id="45" name="Group 44">
            <a:extLst>
              <a:ext uri="{FF2B5EF4-FFF2-40B4-BE49-F238E27FC236}">
                <a16:creationId xmlns:a16="http://schemas.microsoft.com/office/drawing/2014/main" id="{6F7196B4-23D0-A53D-E5FA-209403C9EE8E}"/>
              </a:ext>
            </a:extLst>
          </p:cNvPr>
          <p:cNvGrpSpPr/>
          <p:nvPr/>
        </p:nvGrpSpPr>
        <p:grpSpPr>
          <a:xfrm>
            <a:off x="8632579" y="2962900"/>
            <a:ext cx="1441227" cy="913199"/>
            <a:chOff x="5789150" y="1627647"/>
            <a:chExt cx="1080920" cy="684899"/>
          </a:xfrm>
        </p:grpSpPr>
        <p:sp>
          <p:nvSpPr>
            <p:cNvPr id="39" name="TextBox 38">
              <a:extLst>
                <a:ext uri="{FF2B5EF4-FFF2-40B4-BE49-F238E27FC236}">
                  <a16:creationId xmlns:a16="http://schemas.microsoft.com/office/drawing/2014/main" id="{E730890D-28F6-AD79-64B4-53EDC9842AEC}"/>
                </a:ext>
              </a:extLst>
            </p:cNvPr>
            <p:cNvSpPr txBox="1"/>
            <p:nvPr/>
          </p:nvSpPr>
          <p:spPr>
            <a:xfrm>
              <a:off x="6025848" y="1627647"/>
              <a:ext cx="844222" cy="684899"/>
            </a:xfrm>
            <a:prstGeom prst="rect">
              <a:avLst/>
            </a:prstGeom>
            <a:noFill/>
          </p:spPr>
          <p:txBody>
            <a:bodyPr wrap="none" rtlCol="0">
              <a:spAutoFit/>
            </a:bodyPr>
            <a:lstStyle>
              <a:defPPr marR="0" lvl="0" algn="l" rtl="0">
                <a:lnSpc>
                  <a:spcPct val="100000"/>
                </a:lnSpc>
                <a:spcBef>
                  <a:spcPts val="0"/>
                </a:spcBef>
                <a:spcAft>
                  <a:spcPts val="0"/>
                </a:spcAft>
              </a:defPPr>
              <a:lvl1pPr>
                <a:defRPr sz="1500" b="1">
                  <a:solidFill>
                    <a:schemeClr val="accent6">
                      <a:lumMod val="50000"/>
                    </a:schemeClr>
                  </a:solidFill>
                  <a:latin typeface="+mn-lt"/>
                  <a:ea typeface="Roboto" panose="02000000000000000000" pitchFamily="2" charset="0"/>
                  <a:cs typeface="Roboto"/>
                </a:defRPr>
              </a:lvl1pPr>
            </a:lstStyle>
            <a:p>
              <a:r>
                <a:rPr lang="vi-VN" sz="2667">
                  <a:latin typeface="Times New Roman" panose="02020603050405020304" pitchFamily="18" charset="0"/>
                  <a:cs typeface="Times New Roman" panose="02020603050405020304" pitchFamily="18" charset="0"/>
                  <a:sym typeface="Wingdings 3" panose="05040102010807070707" pitchFamily="18" charset="2"/>
                </a:rPr>
                <a:t>18,4</a:t>
              </a:r>
              <a:r>
                <a:rPr lang="vi-VN" sz="2667">
                  <a:latin typeface="Times New Roman" panose="02020603050405020304" pitchFamily="18" charset="0"/>
                  <a:cs typeface="Times New Roman" panose="02020603050405020304" pitchFamily="18" charset="0"/>
                  <a:sym typeface="Roboto"/>
                </a:rPr>
                <a:t>%</a:t>
              </a:r>
            </a:p>
            <a:p>
              <a:endParaRPr lang="en-US" sz="2667"/>
            </a:p>
          </p:txBody>
        </p:sp>
        <p:sp>
          <p:nvSpPr>
            <p:cNvPr id="43" name="Isosceles Triangle 42">
              <a:extLst>
                <a:ext uri="{FF2B5EF4-FFF2-40B4-BE49-F238E27FC236}">
                  <a16:creationId xmlns:a16="http://schemas.microsoft.com/office/drawing/2014/main" id="{7EE907FB-474D-89F0-26C8-FCF11058D665}"/>
                </a:ext>
              </a:extLst>
            </p:cNvPr>
            <p:cNvSpPr/>
            <p:nvPr/>
          </p:nvSpPr>
          <p:spPr>
            <a:xfrm>
              <a:off x="5789150" y="1741584"/>
              <a:ext cx="236698" cy="19376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grpSp>
        <p:nvGrpSpPr>
          <p:cNvPr id="15" name="Group 14">
            <a:extLst>
              <a:ext uri="{FF2B5EF4-FFF2-40B4-BE49-F238E27FC236}">
                <a16:creationId xmlns:a16="http://schemas.microsoft.com/office/drawing/2014/main" id="{8F41933D-4B99-8032-B10E-DD321A43A5B8}"/>
              </a:ext>
            </a:extLst>
          </p:cNvPr>
          <p:cNvGrpSpPr/>
          <p:nvPr/>
        </p:nvGrpSpPr>
        <p:grpSpPr>
          <a:xfrm>
            <a:off x="8088657" y="4101294"/>
            <a:ext cx="3227248" cy="1776431"/>
            <a:chOff x="5855173" y="3229497"/>
            <a:chExt cx="2420436" cy="1332323"/>
          </a:xfrm>
        </p:grpSpPr>
        <p:grpSp>
          <p:nvGrpSpPr>
            <p:cNvPr id="9" name="Group 8">
              <a:extLst>
                <a:ext uri="{FF2B5EF4-FFF2-40B4-BE49-F238E27FC236}">
                  <a16:creationId xmlns:a16="http://schemas.microsoft.com/office/drawing/2014/main" id="{7E873A29-07C6-1D59-1FAE-20A52E05AFDD}"/>
                </a:ext>
              </a:extLst>
            </p:cNvPr>
            <p:cNvGrpSpPr/>
            <p:nvPr/>
          </p:nvGrpSpPr>
          <p:grpSpPr>
            <a:xfrm>
              <a:off x="5855173" y="3229497"/>
              <a:ext cx="2420436" cy="1332323"/>
              <a:chOff x="5679871" y="2275495"/>
              <a:chExt cx="2741564" cy="1194194"/>
            </a:xfrm>
          </p:grpSpPr>
          <p:grpSp>
            <p:nvGrpSpPr>
              <p:cNvPr id="13" name="Group 12">
                <a:extLst>
                  <a:ext uri="{FF2B5EF4-FFF2-40B4-BE49-F238E27FC236}">
                    <a16:creationId xmlns:a16="http://schemas.microsoft.com/office/drawing/2014/main" id="{A6E95C76-F546-2E5B-10E5-BAEC9D50E6AE}"/>
                  </a:ext>
                </a:extLst>
              </p:cNvPr>
              <p:cNvGrpSpPr/>
              <p:nvPr/>
            </p:nvGrpSpPr>
            <p:grpSpPr>
              <a:xfrm>
                <a:off x="5679871" y="2275495"/>
                <a:ext cx="2741564" cy="1194194"/>
                <a:chOff x="6423853" y="2901809"/>
                <a:chExt cx="2266217" cy="1016118"/>
              </a:xfrm>
            </p:grpSpPr>
            <p:sp>
              <p:nvSpPr>
                <p:cNvPr id="38" name="Hexagon 37">
                  <a:extLst>
                    <a:ext uri="{FF2B5EF4-FFF2-40B4-BE49-F238E27FC236}">
                      <a16:creationId xmlns:a16="http://schemas.microsoft.com/office/drawing/2014/main" id="{D9FC1AC3-DFA7-4254-B329-A9A9AF88937D}"/>
                    </a:ext>
                  </a:extLst>
                </p:cNvPr>
                <p:cNvSpPr>
                  <a:spLocks/>
                </p:cNvSpPr>
                <p:nvPr/>
              </p:nvSpPr>
              <p:spPr>
                <a:xfrm>
                  <a:off x="6423853" y="2959037"/>
                  <a:ext cx="2266217" cy="958890"/>
                </a:xfrm>
                <a:prstGeom prst="flowChartTerminator">
                  <a:avLst/>
                </a:prstGeom>
                <a:solidFill>
                  <a:schemeClr val="accent3">
                    <a:lumMod val="20000"/>
                    <a:lumOff val="80000"/>
                  </a:schemeClr>
                </a:solidFill>
                <a:ln>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1" name="TextBox 30">
                  <a:extLst>
                    <a:ext uri="{FF2B5EF4-FFF2-40B4-BE49-F238E27FC236}">
                      <a16:creationId xmlns:a16="http://schemas.microsoft.com/office/drawing/2014/main" id="{1E109656-FAA0-49E2-E8DD-60239AF09A20}"/>
                    </a:ext>
                  </a:extLst>
                </p:cNvPr>
                <p:cNvSpPr txBox="1"/>
                <p:nvPr/>
              </p:nvSpPr>
              <p:spPr>
                <a:xfrm>
                  <a:off x="6713677" y="2901809"/>
                  <a:ext cx="1764516" cy="569381"/>
                </a:xfrm>
                <a:prstGeom prst="flowChartTerminator">
                  <a:avLst/>
                </a:prstGeom>
                <a:noFill/>
              </p:spPr>
              <p:txBody>
                <a:bodyPr wrap="square" rtlCol="0">
                  <a:spAutoFit/>
                </a:bodyPr>
                <a:lstStyle>
                  <a:defPPr marR="0" lvl="0" algn="l" rtl="0">
                    <a:lnSpc>
                      <a:spcPct val="100000"/>
                    </a:lnSpc>
                    <a:spcBef>
                      <a:spcPts val="0"/>
                    </a:spcBef>
                    <a:spcAft>
                      <a:spcPts val="0"/>
                    </a:spcAft>
                  </a:defPPr>
                  <a:lvl1pPr>
                    <a:defRPr sz="1200" b="1">
                      <a:solidFill>
                        <a:schemeClr val="tx1"/>
                      </a:solidFill>
                      <a:latin typeface="+mn-lt"/>
                      <a:ea typeface="Roboto"/>
                    </a:defRPr>
                  </a:lvl1pPr>
                </a:lstStyle>
                <a:p>
                  <a:pPr algn="ctr"/>
                  <a:r>
                    <a:rPr lang="en-US" sz="2000" dirty="0" err="1"/>
                    <a:t>Khu</a:t>
                  </a:r>
                  <a:r>
                    <a:rPr lang="en-US" sz="2000" dirty="0"/>
                    <a:t> </a:t>
                  </a:r>
                  <a:r>
                    <a:rPr lang="en-US" sz="2000" dirty="0" err="1"/>
                    <a:t>vực</a:t>
                  </a:r>
                  <a:r>
                    <a:rPr lang="en-US" sz="2000" dirty="0"/>
                    <a:t> </a:t>
                  </a:r>
                  <a:r>
                    <a:rPr lang="en-US" sz="2000" dirty="0" err="1"/>
                    <a:t>có</a:t>
                  </a:r>
                  <a:r>
                    <a:rPr lang="en-US" sz="2000" dirty="0"/>
                    <a:t> </a:t>
                  </a:r>
                  <a:r>
                    <a:rPr lang="en-US" sz="2000" dirty="0" err="1"/>
                    <a:t>vốn</a:t>
                  </a:r>
                  <a:r>
                    <a:rPr lang="en-US" sz="2000" dirty="0"/>
                    <a:t> </a:t>
                  </a:r>
                </a:p>
                <a:p>
                  <a:pPr algn="ctr"/>
                  <a:r>
                    <a:rPr lang="en-US" sz="2000" dirty="0" err="1"/>
                    <a:t>đầu</a:t>
                  </a:r>
                  <a:r>
                    <a:rPr lang="en-US" sz="2000" dirty="0"/>
                    <a:t> </a:t>
                  </a:r>
                  <a:r>
                    <a:rPr lang="en-US" sz="2000" dirty="0" err="1"/>
                    <a:t>tư</a:t>
                  </a:r>
                  <a:r>
                    <a:rPr lang="en-US" sz="2000" dirty="0"/>
                    <a:t> </a:t>
                  </a:r>
                  <a:r>
                    <a:rPr lang="en-US" sz="2000" dirty="0" err="1"/>
                    <a:t>nước</a:t>
                  </a:r>
                  <a:r>
                    <a:rPr lang="en-US" sz="2000" dirty="0"/>
                    <a:t> </a:t>
                  </a:r>
                  <a:r>
                    <a:rPr lang="en-US" sz="2000" dirty="0" err="1"/>
                    <a:t>ngoài</a:t>
                  </a:r>
                  <a:endParaRPr lang="en-US" sz="2000" dirty="0"/>
                </a:p>
              </p:txBody>
            </p:sp>
            <p:sp>
              <p:nvSpPr>
                <p:cNvPr id="32" name="Google Shape;1102;p44">
                  <a:extLst>
                    <a:ext uri="{FF2B5EF4-FFF2-40B4-BE49-F238E27FC236}">
                      <a16:creationId xmlns:a16="http://schemas.microsoft.com/office/drawing/2014/main" id="{BA5DABAD-7DB7-85BC-1C62-09803A1F7DD6}"/>
                    </a:ext>
                  </a:extLst>
                </p:cNvPr>
                <p:cNvSpPr txBox="1"/>
                <p:nvPr/>
              </p:nvSpPr>
              <p:spPr>
                <a:xfrm>
                  <a:off x="6763066" y="3428619"/>
                  <a:ext cx="955046" cy="292388"/>
                </a:xfrm>
                <a:prstGeom prst="flowChartTerminator">
                  <a:avLst/>
                </a:prstGeom>
                <a:noFill/>
                <a:ln>
                  <a:noFill/>
                </a:ln>
              </p:spPr>
              <p:txBody>
                <a:bodyPr spcFirstLastPara="1" wrap="square" lIns="91425" tIns="91425" rIns="91425" bIns="91425" anchor="ctr" anchorCtr="0">
                  <a:noAutofit/>
                </a:bodyPr>
                <a:lstStyle/>
                <a:p>
                  <a:pPr algn="ctr">
                    <a:buSzPts val="1100"/>
                  </a:pPr>
                  <a:r>
                    <a:rPr lang="en-US" sz="3200" b="1">
                      <a:solidFill>
                        <a:srgbClr val="C00000"/>
                      </a:solidFill>
                      <a:ea typeface="Roboto" panose="02000000000000000000" pitchFamily="2" charset="0"/>
                      <a:cs typeface="Fira Sans Extra Condensed"/>
                      <a:sym typeface="Fira Sans Extra Condensed"/>
                    </a:rPr>
                    <a:t>506,7</a:t>
                  </a:r>
                  <a:r>
                    <a:rPr lang="en-US" b="1">
                      <a:solidFill>
                        <a:srgbClr val="C00000"/>
                      </a:solidFill>
                      <a:ea typeface="Roboto" panose="02000000000000000000" pitchFamily="2" charset="0"/>
                      <a:cs typeface="Fira Sans Extra Condensed"/>
                      <a:sym typeface="Fira Sans Extra Condensed"/>
                    </a:rPr>
                    <a:t> </a:t>
                  </a:r>
                  <a:endParaRPr lang="en-US" b="1" dirty="0">
                    <a:solidFill>
                      <a:srgbClr val="C00000"/>
                    </a:solidFill>
                    <a:ea typeface="Roboto" panose="02000000000000000000" pitchFamily="2" charset="0"/>
                    <a:cs typeface="Fira Sans Extra Condensed"/>
                    <a:sym typeface="Fira Sans Extra Condensed"/>
                  </a:endParaRPr>
                </a:p>
                <a:p>
                  <a:pPr algn="ctr">
                    <a:buSzPts val="1100"/>
                  </a:pPr>
                  <a:r>
                    <a:rPr lang="en">
                      <a:solidFill>
                        <a:schemeClr val="accent6">
                          <a:lumMod val="50000"/>
                        </a:schemeClr>
                      </a:solidFill>
                      <a:ea typeface="Roboto" panose="02000000000000000000" pitchFamily="2" charset="0"/>
                      <a:cs typeface="Fira Sans Extra Condensed"/>
                      <a:sym typeface="Fira Sans Extra Condensed"/>
                    </a:rPr>
                    <a:t>tỷ </a:t>
                  </a:r>
                  <a:r>
                    <a:rPr lang="en" dirty="0">
                      <a:solidFill>
                        <a:schemeClr val="accent6">
                          <a:lumMod val="50000"/>
                        </a:schemeClr>
                      </a:solidFill>
                      <a:ea typeface="Roboto" panose="02000000000000000000" pitchFamily="2" charset="0"/>
                      <a:cs typeface="Fira Sans Extra Condensed"/>
                      <a:sym typeface="Fira Sans Extra Condensed"/>
                    </a:rPr>
                    <a:t>đồng</a:t>
                  </a:r>
                </a:p>
              </p:txBody>
            </p:sp>
          </p:grpSp>
          <p:sp>
            <p:nvSpPr>
              <p:cNvPr id="14" name="TextBox 13">
                <a:extLst>
                  <a:ext uri="{FF2B5EF4-FFF2-40B4-BE49-F238E27FC236}">
                    <a16:creationId xmlns:a16="http://schemas.microsoft.com/office/drawing/2014/main" id="{012FCB13-2966-655B-3E6B-26B89259D763}"/>
                  </a:ext>
                </a:extLst>
              </p:cNvPr>
              <p:cNvSpPr txBox="1"/>
              <p:nvPr/>
            </p:nvSpPr>
            <p:spPr>
              <a:xfrm>
                <a:off x="7475423" y="2809567"/>
                <a:ext cx="649953" cy="378224"/>
              </a:xfrm>
              <a:prstGeom prst="flowChartTerminator">
                <a:avLst/>
              </a:prstGeom>
              <a:noFill/>
            </p:spPr>
            <p:txBody>
              <a:bodyPr wrap="none" rtlCol="0">
                <a:spAutoFit/>
              </a:bodyPr>
              <a:lstStyle>
                <a:defPPr marR="0" lvl="0" algn="l" rtl="0">
                  <a:lnSpc>
                    <a:spcPct val="100000"/>
                  </a:lnSpc>
                  <a:spcBef>
                    <a:spcPts val="0"/>
                  </a:spcBef>
                  <a:spcAft>
                    <a:spcPts val="0"/>
                  </a:spcAft>
                </a:defPPr>
                <a:lvl1pPr>
                  <a:defRPr sz="1500" b="1">
                    <a:solidFill>
                      <a:schemeClr val="accent6">
                        <a:lumMod val="50000"/>
                      </a:schemeClr>
                    </a:solidFill>
                    <a:latin typeface="+mn-lt"/>
                    <a:ea typeface="Roboto" panose="02000000000000000000" pitchFamily="2" charset="0"/>
                    <a:cs typeface="Roboto"/>
                  </a:defRPr>
                </a:lvl1pPr>
              </a:lstStyle>
              <a:p>
                <a:r>
                  <a:rPr lang="en-US" sz="2000">
                    <a:sym typeface="Wingdings 3" panose="05040102010807070707" pitchFamily="18" charset="2"/>
                  </a:rPr>
                  <a:t>2,5</a:t>
                </a:r>
                <a:r>
                  <a:rPr lang="en" sz="2000">
                    <a:sym typeface="Wingdings 3" panose="05040102010807070707" pitchFamily="18" charset="2"/>
                  </a:rPr>
                  <a:t>%</a:t>
                </a:r>
                <a:endParaRPr lang="en-US" sz="2000" dirty="0"/>
              </a:p>
            </p:txBody>
          </p:sp>
        </p:grpSp>
        <p:sp>
          <p:nvSpPr>
            <p:cNvPr id="49" name="Isosceles Triangle 48">
              <a:extLst>
                <a:ext uri="{FF2B5EF4-FFF2-40B4-BE49-F238E27FC236}">
                  <a16:creationId xmlns:a16="http://schemas.microsoft.com/office/drawing/2014/main" id="{BD9E0BFA-8CA1-D849-E947-DC2ED45F2C70}"/>
                </a:ext>
              </a:extLst>
            </p:cNvPr>
            <p:cNvSpPr/>
            <p:nvPr/>
          </p:nvSpPr>
          <p:spPr>
            <a:xfrm rot="10800000" flipV="1">
              <a:off x="7278326" y="4016523"/>
              <a:ext cx="202500" cy="99543"/>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grpSp>
        <p:nvGrpSpPr>
          <p:cNvPr id="10" name="Group 9">
            <a:extLst>
              <a:ext uri="{FF2B5EF4-FFF2-40B4-BE49-F238E27FC236}">
                <a16:creationId xmlns:a16="http://schemas.microsoft.com/office/drawing/2014/main" id="{AAE994BC-EAFC-C98F-4EFE-BE918FD1A61C}"/>
              </a:ext>
            </a:extLst>
          </p:cNvPr>
          <p:cNvGrpSpPr/>
          <p:nvPr/>
        </p:nvGrpSpPr>
        <p:grpSpPr>
          <a:xfrm>
            <a:off x="1036885" y="4204344"/>
            <a:ext cx="3301171" cy="1686557"/>
            <a:chOff x="3316776" y="3310042"/>
            <a:chExt cx="2475878" cy="1264918"/>
          </a:xfrm>
        </p:grpSpPr>
        <p:grpSp>
          <p:nvGrpSpPr>
            <p:cNvPr id="7" name="Group 6">
              <a:extLst>
                <a:ext uri="{FF2B5EF4-FFF2-40B4-BE49-F238E27FC236}">
                  <a16:creationId xmlns:a16="http://schemas.microsoft.com/office/drawing/2014/main" id="{908B3CB4-92C5-FEE0-B7A3-C071CD8CCC67}"/>
                </a:ext>
              </a:extLst>
            </p:cNvPr>
            <p:cNvGrpSpPr>
              <a:grpSpLocks/>
            </p:cNvGrpSpPr>
            <p:nvPr/>
          </p:nvGrpSpPr>
          <p:grpSpPr>
            <a:xfrm>
              <a:off x="3316776" y="3310042"/>
              <a:ext cx="2475878" cy="1264918"/>
              <a:chOff x="743203" y="3093438"/>
              <a:chExt cx="2175234" cy="1124217"/>
            </a:xfrm>
          </p:grpSpPr>
          <p:sp>
            <p:nvSpPr>
              <p:cNvPr id="2" name="Rectangle: Beveled 1">
                <a:extLst>
                  <a:ext uri="{FF2B5EF4-FFF2-40B4-BE49-F238E27FC236}">
                    <a16:creationId xmlns:a16="http://schemas.microsoft.com/office/drawing/2014/main" id="{906727C9-9FAA-47C8-B54C-39C40170B570}"/>
                  </a:ext>
                </a:extLst>
              </p:cNvPr>
              <p:cNvSpPr>
                <a:spLocks/>
              </p:cNvSpPr>
              <p:nvPr/>
            </p:nvSpPr>
            <p:spPr>
              <a:xfrm>
                <a:off x="743203" y="3093438"/>
                <a:ext cx="2175234" cy="1124217"/>
              </a:xfrm>
              <a:prstGeom prst="flowChartTerminator">
                <a:avLst/>
              </a:prstGeom>
              <a:solidFill>
                <a:schemeClr val="accent3">
                  <a:lumMod val="20000"/>
                  <a:lumOff val="80000"/>
                </a:schemeClr>
              </a:solidFill>
              <a:ln>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nvGrpSpPr>
              <p:cNvPr id="11" name="Group 10">
                <a:extLst>
                  <a:ext uri="{FF2B5EF4-FFF2-40B4-BE49-F238E27FC236}">
                    <a16:creationId xmlns:a16="http://schemas.microsoft.com/office/drawing/2014/main" id="{1AB156FF-3AC2-7282-69EE-47E6F9E4C77B}"/>
                  </a:ext>
                </a:extLst>
              </p:cNvPr>
              <p:cNvGrpSpPr>
                <a:grpSpLocks/>
              </p:cNvGrpSpPr>
              <p:nvPr/>
            </p:nvGrpSpPr>
            <p:grpSpPr>
              <a:xfrm>
                <a:off x="866896" y="3133496"/>
                <a:ext cx="1917126" cy="831754"/>
                <a:chOff x="1195887" y="3035703"/>
                <a:chExt cx="1917126" cy="831754"/>
              </a:xfrm>
            </p:grpSpPr>
            <p:sp>
              <p:nvSpPr>
                <p:cNvPr id="27" name="TextBox 26">
                  <a:extLst>
                    <a:ext uri="{FF2B5EF4-FFF2-40B4-BE49-F238E27FC236}">
                      <a16:creationId xmlns:a16="http://schemas.microsoft.com/office/drawing/2014/main" id="{7CD320CC-5365-5B76-06FE-1E9511129F1C}"/>
                    </a:ext>
                  </a:extLst>
                </p:cNvPr>
                <p:cNvSpPr txBox="1">
                  <a:spLocks/>
                </p:cNvSpPr>
                <p:nvPr/>
              </p:nvSpPr>
              <p:spPr>
                <a:xfrm>
                  <a:off x="1195887" y="3035703"/>
                  <a:ext cx="1917126" cy="432733"/>
                </a:xfrm>
                <a:prstGeom prst="flowChartTerminator">
                  <a:avLst/>
                </a:prstGeom>
                <a:noFill/>
              </p:spPr>
              <p:txBody>
                <a:bodyPr wrap="square" rtlCol="0">
                  <a:spAutoFit/>
                </a:bodyPr>
                <a:lstStyle>
                  <a:defPPr marR="0" lvl="0" algn="l" rtl="0">
                    <a:lnSpc>
                      <a:spcPct val="100000"/>
                    </a:lnSpc>
                    <a:spcBef>
                      <a:spcPts val="0"/>
                    </a:spcBef>
                    <a:spcAft>
                      <a:spcPts val="0"/>
                    </a:spcAft>
                  </a:defPPr>
                  <a:lvl1pPr>
                    <a:defRPr sz="1200" b="1">
                      <a:solidFill>
                        <a:schemeClr val="tx1"/>
                      </a:solidFill>
                      <a:latin typeface="+mn-lt"/>
                      <a:ea typeface="Roboto"/>
                    </a:defRPr>
                  </a:lvl1pPr>
                </a:lstStyle>
                <a:p>
                  <a:pPr algn="ctr"/>
                  <a:r>
                    <a:rPr lang="en-US" sz="2400" dirty="0" err="1"/>
                    <a:t>Khu</a:t>
                  </a:r>
                  <a:r>
                    <a:rPr lang="en-US" sz="2400" dirty="0"/>
                    <a:t> </a:t>
                  </a:r>
                  <a:r>
                    <a:rPr lang="en-US" sz="2400" dirty="0" err="1"/>
                    <a:t>vực</a:t>
                  </a:r>
                  <a:r>
                    <a:rPr lang="en-US" sz="2400" dirty="0"/>
                    <a:t> </a:t>
                  </a:r>
                  <a:r>
                    <a:rPr lang="en-US" sz="2400" dirty="0" err="1"/>
                    <a:t>Nhà</a:t>
                  </a:r>
                  <a:r>
                    <a:rPr lang="en-US" sz="2400" dirty="0"/>
                    <a:t> </a:t>
                  </a:r>
                  <a:r>
                    <a:rPr lang="en-US" sz="2400" dirty="0" err="1"/>
                    <a:t>nước</a:t>
                  </a:r>
                  <a:endParaRPr lang="en-US" sz="2400" dirty="0"/>
                </a:p>
              </p:txBody>
            </p:sp>
            <p:sp>
              <p:nvSpPr>
                <p:cNvPr id="28" name="Google Shape;1102;p44">
                  <a:extLst>
                    <a:ext uri="{FF2B5EF4-FFF2-40B4-BE49-F238E27FC236}">
                      <a16:creationId xmlns:a16="http://schemas.microsoft.com/office/drawing/2014/main" id="{5BD82E29-7F38-7121-0BDE-4B57F6FB9C64}"/>
                    </a:ext>
                  </a:extLst>
                </p:cNvPr>
                <p:cNvSpPr txBox="1">
                  <a:spLocks/>
                </p:cNvSpPr>
                <p:nvPr/>
              </p:nvSpPr>
              <p:spPr>
                <a:xfrm>
                  <a:off x="1298093" y="3519587"/>
                  <a:ext cx="1009843" cy="292388"/>
                </a:xfrm>
                <a:prstGeom prst="flowChartTerminator">
                  <a:avLst/>
                </a:prstGeom>
                <a:noFill/>
                <a:ln>
                  <a:noFill/>
                </a:ln>
              </p:spPr>
              <p:txBody>
                <a:bodyPr spcFirstLastPara="1" wrap="square" lIns="91425" tIns="91425" rIns="91425" bIns="91425" anchor="ctr" anchorCtr="0">
                  <a:noAutofit/>
                </a:bodyPr>
                <a:lstStyle/>
                <a:p>
                  <a:pPr algn="ctr">
                    <a:buSzPts val="1100"/>
                  </a:pPr>
                  <a:r>
                    <a:rPr lang="en-US" sz="2800" b="1">
                      <a:solidFill>
                        <a:srgbClr val="C00000"/>
                      </a:solidFill>
                      <a:ea typeface="Roboto" panose="02000000000000000000" pitchFamily="2" charset="0"/>
                      <a:cs typeface="Fira Sans Extra Condensed"/>
                      <a:sym typeface="Fira Sans Extra Condensed"/>
                    </a:rPr>
                    <a:t>6.787,9</a:t>
                  </a:r>
                  <a:r>
                    <a:rPr lang="en-US" sz="2133" b="1">
                      <a:solidFill>
                        <a:srgbClr val="C00000"/>
                      </a:solidFill>
                      <a:ea typeface="Roboto" panose="02000000000000000000" pitchFamily="2" charset="0"/>
                      <a:cs typeface="Fira Sans Extra Condensed"/>
                      <a:sym typeface="Fira Sans Extra Condensed"/>
                    </a:rPr>
                    <a:t> </a:t>
                  </a:r>
                  <a:endParaRPr lang="en-US" sz="2133" b="1" dirty="0">
                    <a:solidFill>
                      <a:srgbClr val="C00000"/>
                    </a:solidFill>
                    <a:ea typeface="Roboto" panose="02000000000000000000" pitchFamily="2" charset="0"/>
                    <a:cs typeface="Fira Sans Extra Condensed"/>
                    <a:sym typeface="Fira Sans Extra Condensed"/>
                  </a:endParaRPr>
                </a:p>
                <a:p>
                  <a:pPr algn="ctr">
                    <a:buSzPts val="1100"/>
                  </a:pPr>
                  <a:r>
                    <a:rPr lang="en">
                      <a:solidFill>
                        <a:schemeClr val="accent6">
                          <a:lumMod val="50000"/>
                        </a:schemeClr>
                      </a:solidFill>
                      <a:ea typeface="Roboto" panose="02000000000000000000" pitchFamily="2" charset="0"/>
                      <a:cs typeface="Fira Sans Extra Condensed"/>
                      <a:sym typeface="Fira Sans Extra Condensed"/>
                    </a:rPr>
                    <a:t>tỷ </a:t>
                  </a:r>
                  <a:r>
                    <a:rPr lang="en" dirty="0">
                      <a:solidFill>
                        <a:schemeClr val="accent6">
                          <a:lumMod val="50000"/>
                        </a:schemeClr>
                      </a:solidFill>
                      <a:ea typeface="Roboto" panose="02000000000000000000" pitchFamily="2" charset="0"/>
                      <a:cs typeface="Fira Sans Extra Condensed"/>
                      <a:sym typeface="Fira Sans Extra Condensed"/>
                    </a:rPr>
                    <a:t>đồng</a:t>
                  </a:r>
                </a:p>
              </p:txBody>
            </p:sp>
            <p:sp>
              <p:nvSpPr>
                <p:cNvPr id="29" name="TextBox 28">
                  <a:extLst>
                    <a:ext uri="{FF2B5EF4-FFF2-40B4-BE49-F238E27FC236}">
                      <a16:creationId xmlns:a16="http://schemas.microsoft.com/office/drawing/2014/main" id="{87785BE8-8D2C-34AD-3528-6DEFFB1C2187}"/>
                    </a:ext>
                  </a:extLst>
                </p:cNvPr>
                <p:cNvSpPr txBox="1">
                  <a:spLocks/>
                </p:cNvSpPr>
                <p:nvPr/>
              </p:nvSpPr>
              <p:spPr>
                <a:xfrm>
                  <a:off x="2477311" y="3492422"/>
                  <a:ext cx="597975" cy="375035"/>
                </a:xfrm>
                <a:prstGeom prst="flowChartTerminator">
                  <a:avLst/>
                </a:prstGeom>
                <a:noFill/>
              </p:spPr>
              <p:txBody>
                <a:bodyPr wrap="none" rtlCol="0">
                  <a:spAutoFit/>
                </a:bodyPr>
                <a:lstStyle>
                  <a:defPPr marR="0" lvl="0" algn="l" rtl="0">
                    <a:lnSpc>
                      <a:spcPct val="100000"/>
                    </a:lnSpc>
                    <a:spcBef>
                      <a:spcPts val="0"/>
                    </a:spcBef>
                    <a:spcAft>
                      <a:spcPts val="0"/>
                    </a:spcAft>
                  </a:defPPr>
                  <a:lvl1pPr>
                    <a:defRPr sz="1500" b="1">
                      <a:solidFill>
                        <a:schemeClr val="accent6">
                          <a:lumMod val="50000"/>
                        </a:schemeClr>
                      </a:solidFill>
                      <a:latin typeface="+mn-lt"/>
                      <a:ea typeface="Roboto" panose="02000000000000000000" pitchFamily="2" charset="0"/>
                      <a:cs typeface="Roboto"/>
                    </a:defRPr>
                  </a:lvl1pPr>
                </a:lstStyle>
                <a:p>
                  <a:r>
                    <a:rPr lang="en-US" sz="2000">
                      <a:sym typeface="Wingdings 3" panose="05040102010807070707" pitchFamily="18" charset="2"/>
                    </a:rPr>
                    <a:t>28,9</a:t>
                  </a:r>
                  <a:r>
                    <a:rPr lang="en" sz="2000">
                      <a:sym typeface="Wingdings 3" panose="05040102010807070707" pitchFamily="18" charset="2"/>
                    </a:rPr>
                    <a:t>%</a:t>
                  </a:r>
                  <a:endParaRPr lang="en-US" sz="2000" dirty="0"/>
                </a:p>
              </p:txBody>
            </p:sp>
          </p:grpSp>
        </p:grpSp>
        <p:sp>
          <p:nvSpPr>
            <p:cNvPr id="52" name="Isosceles Triangle 51">
              <a:extLst>
                <a:ext uri="{FF2B5EF4-FFF2-40B4-BE49-F238E27FC236}">
                  <a16:creationId xmlns:a16="http://schemas.microsoft.com/office/drawing/2014/main" id="{1CEA01EA-4117-8FD6-26A2-817769C532AD}"/>
                </a:ext>
              </a:extLst>
            </p:cNvPr>
            <p:cNvSpPr/>
            <p:nvPr/>
          </p:nvSpPr>
          <p:spPr>
            <a:xfrm>
              <a:off x="4774508" y="3986609"/>
              <a:ext cx="202500" cy="165767"/>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grpSp>
        <p:nvGrpSpPr>
          <p:cNvPr id="8" name="Group 7">
            <a:extLst>
              <a:ext uri="{FF2B5EF4-FFF2-40B4-BE49-F238E27FC236}">
                <a16:creationId xmlns:a16="http://schemas.microsoft.com/office/drawing/2014/main" id="{71926BB6-FD2C-E0A1-6D7A-1C8DE5F37095}"/>
              </a:ext>
            </a:extLst>
          </p:cNvPr>
          <p:cNvGrpSpPr/>
          <p:nvPr/>
        </p:nvGrpSpPr>
        <p:grpSpPr>
          <a:xfrm>
            <a:off x="4326876" y="4207013"/>
            <a:ext cx="3799554" cy="1676381"/>
            <a:chOff x="534419" y="3310039"/>
            <a:chExt cx="2849665" cy="1257286"/>
          </a:xfrm>
        </p:grpSpPr>
        <p:grpSp>
          <p:nvGrpSpPr>
            <p:cNvPr id="12" name="Group 11">
              <a:extLst>
                <a:ext uri="{FF2B5EF4-FFF2-40B4-BE49-F238E27FC236}">
                  <a16:creationId xmlns:a16="http://schemas.microsoft.com/office/drawing/2014/main" id="{E3F81E01-C498-E31C-BA1E-6B7A2F2C6EAD}"/>
                </a:ext>
              </a:extLst>
            </p:cNvPr>
            <p:cNvGrpSpPr>
              <a:grpSpLocks/>
            </p:cNvGrpSpPr>
            <p:nvPr/>
          </p:nvGrpSpPr>
          <p:grpSpPr>
            <a:xfrm>
              <a:off x="534419" y="3310039"/>
              <a:ext cx="2849665" cy="1257286"/>
              <a:chOff x="3335873" y="2615109"/>
              <a:chExt cx="2849665" cy="1190920"/>
            </a:xfrm>
          </p:grpSpPr>
          <p:sp>
            <p:nvSpPr>
              <p:cNvPr id="36" name="Hexagon 35">
                <a:extLst>
                  <a:ext uri="{FF2B5EF4-FFF2-40B4-BE49-F238E27FC236}">
                    <a16:creationId xmlns:a16="http://schemas.microsoft.com/office/drawing/2014/main" id="{63532DCE-B86F-4D8F-BD6F-3D97672D7E3C}"/>
                  </a:ext>
                </a:extLst>
              </p:cNvPr>
              <p:cNvSpPr>
                <a:spLocks/>
              </p:cNvSpPr>
              <p:nvPr/>
            </p:nvSpPr>
            <p:spPr>
              <a:xfrm>
                <a:off x="3452878" y="2615109"/>
                <a:ext cx="2559724" cy="1190920"/>
              </a:xfrm>
              <a:prstGeom prst="flowChartTerminator">
                <a:avLst/>
              </a:prstGeom>
              <a:solidFill>
                <a:schemeClr val="accent3">
                  <a:lumMod val="20000"/>
                  <a:lumOff val="80000"/>
                </a:schemeClr>
              </a:solidFill>
              <a:ln>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extBox 2">
                <a:extLst>
                  <a:ext uri="{FF2B5EF4-FFF2-40B4-BE49-F238E27FC236}">
                    <a16:creationId xmlns:a16="http://schemas.microsoft.com/office/drawing/2014/main" id="{2A751374-679E-BBE1-94F7-C6E2AB871A48}"/>
                  </a:ext>
                </a:extLst>
              </p:cNvPr>
              <p:cNvSpPr txBox="1">
                <a:spLocks/>
              </p:cNvSpPr>
              <p:nvPr/>
            </p:nvSpPr>
            <p:spPr>
              <a:xfrm>
                <a:off x="3335873" y="2651928"/>
                <a:ext cx="2849665" cy="461190"/>
              </a:xfrm>
              <a:prstGeom prst="flowChartTerminator">
                <a:avLst/>
              </a:prstGeom>
              <a:noFill/>
            </p:spPr>
            <p:txBody>
              <a:bodyPr wrap="square" rtlCol="0">
                <a:spAutoFit/>
              </a:bodyPr>
              <a:lstStyle/>
              <a:p>
                <a:pPr algn="ctr"/>
                <a:r>
                  <a:rPr lang="en-US" sz="2400" b="1" dirty="0" err="1">
                    <a:ea typeface="Roboto"/>
                  </a:rPr>
                  <a:t>Khu</a:t>
                </a:r>
                <a:r>
                  <a:rPr lang="en-US" sz="2400" b="1" dirty="0"/>
                  <a:t> </a:t>
                </a:r>
                <a:r>
                  <a:rPr lang="en-US" sz="2400" b="1" dirty="0" err="1"/>
                  <a:t>vực</a:t>
                </a:r>
                <a:r>
                  <a:rPr lang="en-US" sz="2400" b="1" dirty="0"/>
                  <a:t> </a:t>
                </a:r>
                <a:r>
                  <a:rPr lang="en-US" sz="2400" b="1" err="1"/>
                  <a:t>ngoài</a:t>
                </a:r>
                <a:r>
                  <a:rPr lang="en-US" sz="2400" b="1"/>
                  <a:t> </a:t>
                </a:r>
                <a:r>
                  <a:rPr lang="en-US" sz="2400" b="1" dirty="0"/>
                  <a:t>N</a:t>
                </a:r>
                <a:r>
                  <a:rPr lang="en-US" sz="2400" b="1"/>
                  <a:t>hà </a:t>
                </a:r>
                <a:r>
                  <a:rPr lang="en-US" sz="2400" b="1" dirty="0" err="1"/>
                  <a:t>nước</a:t>
                </a:r>
                <a:endParaRPr lang="en-US" sz="2400" b="1" dirty="0"/>
              </a:p>
            </p:txBody>
          </p:sp>
          <p:sp>
            <p:nvSpPr>
              <p:cNvPr id="4" name="TextBox 3">
                <a:extLst>
                  <a:ext uri="{FF2B5EF4-FFF2-40B4-BE49-F238E27FC236}">
                    <a16:creationId xmlns:a16="http://schemas.microsoft.com/office/drawing/2014/main" id="{59D74D8D-0C56-A9C6-38A6-09BBBEF557F3}"/>
                  </a:ext>
                </a:extLst>
              </p:cNvPr>
              <p:cNvSpPr txBox="1">
                <a:spLocks/>
              </p:cNvSpPr>
              <p:nvPr/>
            </p:nvSpPr>
            <p:spPr>
              <a:xfrm>
                <a:off x="5089019" y="3113761"/>
                <a:ext cx="680623" cy="399699"/>
              </a:xfrm>
              <a:prstGeom prst="flowChartTerminator">
                <a:avLst/>
              </a:prstGeom>
              <a:noFill/>
            </p:spPr>
            <p:txBody>
              <a:bodyPr wrap="none" rtlCol="0">
                <a:spAutoFit/>
              </a:bodyPr>
              <a:lstStyle>
                <a:defPPr marR="0" lvl="0" algn="l" rtl="0">
                  <a:lnSpc>
                    <a:spcPct val="100000"/>
                  </a:lnSpc>
                  <a:spcBef>
                    <a:spcPts val="0"/>
                  </a:spcBef>
                  <a:spcAft>
                    <a:spcPts val="0"/>
                  </a:spcAft>
                </a:defPPr>
                <a:lvl1pPr>
                  <a:defRPr sz="1500" b="1">
                    <a:solidFill>
                      <a:schemeClr val="accent6">
                        <a:lumMod val="50000"/>
                      </a:schemeClr>
                    </a:solidFill>
                    <a:latin typeface="+mn-lt"/>
                    <a:ea typeface="Roboto" panose="02000000000000000000" pitchFamily="2" charset="0"/>
                    <a:cs typeface="Roboto"/>
                  </a:defRPr>
                </a:lvl1pPr>
              </a:lstStyle>
              <a:p>
                <a:r>
                  <a:rPr lang="en-US" sz="2000">
                    <a:sym typeface="Wingdings 3" panose="05040102010807070707" pitchFamily="18" charset="2"/>
                  </a:rPr>
                  <a:t>13,1</a:t>
                </a:r>
                <a:r>
                  <a:rPr lang="en" sz="2000">
                    <a:sym typeface="Wingdings 3" panose="05040102010807070707" pitchFamily="18" charset="2"/>
                  </a:rPr>
                  <a:t>%</a:t>
                </a:r>
                <a:endParaRPr lang="en-US" sz="2000" dirty="0"/>
              </a:p>
            </p:txBody>
          </p:sp>
          <p:sp>
            <p:nvSpPr>
              <p:cNvPr id="6" name="Google Shape;1102;p44">
                <a:extLst>
                  <a:ext uri="{FF2B5EF4-FFF2-40B4-BE49-F238E27FC236}">
                    <a16:creationId xmlns:a16="http://schemas.microsoft.com/office/drawing/2014/main" id="{070843E9-E11E-EAA4-1CCE-869292A47699}"/>
                  </a:ext>
                </a:extLst>
              </p:cNvPr>
              <p:cNvSpPr txBox="1">
                <a:spLocks/>
              </p:cNvSpPr>
              <p:nvPr/>
            </p:nvSpPr>
            <p:spPr>
              <a:xfrm>
                <a:off x="3452879" y="3142660"/>
                <a:ext cx="1238416" cy="292388"/>
              </a:xfrm>
              <a:prstGeom prst="flowChartTerminator">
                <a:avLst/>
              </a:prstGeom>
              <a:noFill/>
              <a:ln>
                <a:noFill/>
              </a:ln>
            </p:spPr>
            <p:txBody>
              <a:bodyPr spcFirstLastPara="1" wrap="square" lIns="91425" tIns="91425" rIns="91425" bIns="91425" anchor="ctr" anchorCtr="0">
                <a:noAutofit/>
              </a:bodyPr>
              <a:lstStyle/>
              <a:p>
                <a:pPr algn="ctr">
                  <a:buSzPts val="1100"/>
                </a:pPr>
                <a:r>
                  <a:rPr lang="en-US" sz="2800" b="1">
                    <a:solidFill>
                      <a:srgbClr val="C00000"/>
                    </a:solidFill>
                    <a:ea typeface="Roboto" panose="02000000000000000000" pitchFamily="2" charset="0"/>
                    <a:cs typeface="Fira Sans Extra Condensed"/>
                    <a:sym typeface="Fira Sans Extra Condensed"/>
                  </a:rPr>
                  <a:t>10.185,7 </a:t>
                </a:r>
                <a:endParaRPr lang="en-US" sz="2800" b="1" dirty="0">
                  <a:solidFill>
                    <a:srgbClr val="C00000"/>
                  </a:solidFill>
                  <a:ea typeface="Roboto" panose="02000000000000000000" pitchFamily="2" charset="0"/>
                  <a:cs typeface="Fira Sans Extra Condensed"/>
                  <a:sym typeface="Fira Sans Extra Condensed"/>
                </a:endParaRPr>
              </a:p>
              <a:p>
                <a:pPr algn="ctr">
                  <a:buSzPts val="1100"/>
                </a:pPr>
                <a:r>
                  <a:rPr lang="en">
                    <a:solidFill>
                      <a:schemeClr val="accent6">
                        <a:lumMod val="50000"/>
                      </a:schemeClr>
                    </a:solidFill>
                    <a:ea typeface="Roboto" panose="02000000000000000000" pitchFamily="2" charset="0"/>
                    <a:cs typeface="Fira Sans Extra Condensed"/>
                    <a:sym typeface="Fira Sans Extra Condensed"/>
                  </a:rPr>
                  <a:t>tỷ đồng</a:t>
                </a:r>
                <a:endParaRPr lang="en" dirty="0">
                  <a:solidFill>
                    <a:schemeClr val="accent6">
                      <a:lumMod val="50000"/>
                    </a:schemeClr>
                  </a:solidFill>
                  <a:ea typeface="Roboto" panose="02000000000000000000" pitchFamily="2" charset="0"/>
                  <a:cs typeface="Fira Sans Extra Condensed"/>
                  <a:sym typeface="Fira Sans Extra Condensed"/>
                </a:endParaRPr>
              </a:p>
            </p:txBody>
          </p:sp>
        </p:grpSp>
        <p:sp>
          <p:nvSpPr>
            <p:cNvPr id="53" name="Isosceles Triangle 52">
              <a:extLst>
                <a:ext uri="{FF2B5EF4-FFF2-40B4-BE49-F238E27FC236}">
                  <a16:creationId xmlns:a16="http://schemas.microsoft.com/office/drawing/2014/main" id="{EC9F65A4-41B1-13BC-19C9-9BFE6D52A487}"/>
                </a:ext>
              </a:extLst>
            </p:cNvPr>
            <p:cNvSpPr/>
            <p:nvPr/>
          </p:nvSpPr>
          <p:spPr>
            <a:xfrm>
              <a:off x="2119391" y="3964582"/>
              <a:ext cx="202500" cy="165767"/>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grpSp>
      <p:sp>
        <p:nvSpPr>
          <p:cNvPr id="17" name="TextBox 16">
            <a:extLst>
              <a:ext uri="{FF2B5EF4-FFF2-40B4-BE49-F238E27FC236}">
                <a16:creationId xmlns:a16="http://schemas.microsoft.com/office/drawing/2014/main" id="{ABDAFB93-63EF-7B44-9F8D-34E91B303021}"/>
              </a:ext>
            </a:extLst>
          </p:cNvPr>
          <p:cNvSpPr txBox="1"/>
          <p:nvPr/>
        </p:nvSpPr>
        <p:spPr>
          <a:xfrm>
            <a:off x="1036885" y="459485"/>
            <a:ext cx="724058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2. Đầu tư phát triển toàn xã hội</a:t>
            </a:r>
          </a:p>
        </p:txBody>
      </p:sp>
    </p:spTree>
    <p:extLst>
      <p:ext uri="{BB962C8B-B14F-4D97-AF65-F5344CB8AC3E}">
        <p14:creationId xmlns:p14="http://schemas.microsoft.com/office/powerpoint/2010/main" val="116782733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622698169"/>
              </p:ext>
            </p:extLst>
          </p:nvPr>
        </p:nvGraphicFramePr>
        <p:xfrm>
          <a:off x="595394" y="1494778"/>
          <a:ext cx="10813633" cy="5364480"/>
        </p:xfrm>
        <a:graphic>
          <a:graphicData uri="http://schemas.openxmlformats.org/drawingml/2006/table">
            <a:tbl>
              <a:tblPr firstRow="1" bandRow="1"/>
              <a:tblGrid>
                <a:gridCol w="1081363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a:t>
                      </a:r>
                      <a:r>
                        <a:rPr lang="nl-NL" sz="2000" b="1" i="1">
                          <a:solidFill>
                            <a:schemeClr val="tx1"/>
                          </a:solidFill>
                          <a:effectLst/>
                          <a:latin typeface="Times New Roman" panose="02020603050405020304" pitchFamily="18" charset="0"/>
                          <a:ea typeface="Times New Roman" panose="02020603050405020304" pitchFamily="18" charset="0"/>
                        </a:rPr>
                        <a:t>Về đầu tư nước ngoài (FDI):</a:t>
                      </a:r>
                      <a:r>
                        <a:rPr lang="nl-NL" sz="2000" b="1" spc="-10">
                          <a:solidFill>
                            <a:schemeClr val="tx1"/>
                          </a:solidFill>
                          <a:effectLst/>
                          <a:latin typeface="Times New Roman" panose="02020603050405020304" pitchFamily="18" charset="0"/>
                          <a:ea typeface="Times New Roman" panose="02020603050405020304" pitchFamily="18" charset="0"/>
                        </a:rPr>
                        <a:t> </a:t>
                      </a:r>
                      <a:r>
                        <a:rPr lang="en-US" sz="2000" b="0" kern="1200" spc="-10">
                          <a:solidFill>
                            <a:schemeClr val="tx1"/>
                          </a:solidFill>
                          <a:effectLst/>
                          <a:latin typeface="Times New Roman" panose="02020603050405020304" pitchFamily="18" charset="0"/>
                          <a:ea typeface="+mn-ea"/>
                          <a:cs typeface="+mn-cs"/>
                        </a:rPr>
                        <a:t>Từ đầu năm đến nay </a:t>
                      </a:r>
                      <a:r>
                        <a:rPr lang="vi-VN" sz="2000" b="0" kern="1200" spc="-10">
                          <a:solidFill>
                            <a:schemeClr val="tx1"/>
                          </a:solidFill>
                          <a:effectLst/>
                          <a:latin typeface="Times New Roman" panose="02020603050405020304" pitchFamily="18" charset="0"/>
                          <a:ea typeface="+mn-ea"/>
                          <a:cs typeface="+mn-cs"/>
                        </a:rPr>
                        <a:t>ghi nhận 1 dự án FDI đăng ký đầu tư mới, với tổng vốn đầu tư là 81.065 USD từ Công ty CP Quốc tế anh văn Hội Việt Mỹ, nhà đầu tư Singapore. Tính đến nay, toàn tỉnh có 87 dự án FDI với tổng vốn đăng ký trên </a:t>
                      </a:r>
                      <a:r>
                        <a:rPr lang="en-US" sz="2000" b="0" kern="1200" spc="-10">
                          <a:solidFill>
                            <a:schemeClr val="tx1"/>
                          </a:solidFill>
                          <a:effectLst/>
                          <a:latin typeface="Times New Roman" panose="02020603050405020304" pitchFamily="18" charset="0"/>
                          <a:ea typeface="+mn-ea"/>
                          <a:cs typeface="+mn-cs"/>
                        </a:rPr>
                        <a:t>1,13</a:t>
                      </a:r>
                      <a:r>
                        <a:rPr lang="vi-VN" sz="2000" b="0" kern="1200" spc="-10">
                          <a:solidFill>
                            <a:schemeClr val="tx1"/>
                          </a:solidFill>
                          <a:effectLst/>
                          <a:latin typeface="Times New Roman" panose="02020603050405020304" pitchFamily="18" charset="0"/>
                          <a:ea typeface="+mn-ea"/>
                          <a:cs typeface="+mn-cs"/>
                        </a:rPr>
                        <a:t> t</a:t>
                      </a:r>
                      <a:r>
                        <a:rPr lang="en-US" sz="2000" b="0" kern="1200" spc="-10">
                          <a:solidFill>
                            <a:schemeClr val="tx1"/>
                          </a:solidFill>
                          <a:effectLst/>
                          <a:latin typeface="Times New Roman" panose="02020603050405020304" pitchFamily="18" charset="0"/>
                          <a:ea typeface="+mn-ea"/>
                          <a:cs typeface="+mn-cs"/>
                        </a:rPr>
                        <a:t>ỷ</a:t>
                      </a:r>
                      <a:r>
                        <a:rPr lang="vi-VN" sz="2000" b="0" kern="1200" spc="-10">
                          <a:solidFill>
                            <a:schemeClr val="tx1"/>
                          </a:solidFill>
                          <a:effectLst/>
                          <a:latin typeface="Times New Roman" panose="02020603050405020304" pitchFamily="18" charset="0"/>
                          <a:ea typeface="+mn-ea"/>
                          <a:cs typeface="+mn-cs"/>
                        </a:rPr>
                        <a:t> USD</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1" i="1">
                          <a:effectLst/>
                          <a:latin typeface="Times New Roman" panose="02020603050405020304" pitchFamily="18" charset="0"/>
                          <a:ea typeface="Times New Roman" panose="02020603050405020304" pitchFamily="18" charset="0"/>
                        </a:rPr>
                        <a:t> </a:t>
                      </a:r>
                      <a:r>
                        <a:rPr lang="nl-NL" sz="2000" b="1" i="1">
                          <a:effectLst/>
                          <a:latin typeface="Times New Roman" panose="02020603050405020304" pitchFamily="18" charset="0"/>
                          <a:ea typeface="Times New Roman" panose="02020603050405020304" pitchFamily="18" charset="0"/>
                        </a:rPr>
                        <a:t>Về đầu tư trong nước:</a:t>
                      </a:r>
                      <a:r>
                        <a:rPr lang="vi-VN" sz="2000" b="1" i="1">
                          <a:effectLst/>
                          <a:latin typeface="Times New Roman" panose="02020603050405020304" pitchFamily="18" charset="0"/>
                          <a:ea typeface="Times New Roman" panose="02020603050405020304" pitchFamily="18" charset="0"/>
                        </a:rPr>
                        <a:t> </a:t>
                      </a:r>
                      <a:r>
                        <a:rPr lang="vi-VN" sz="2000" b="0" i="0" kern="1200" spc="-10">
                          <a:solidFill>
                            <a:schemeClr val="tx1"/>
                          </a:solidFill>
                          <a:effectLst/>
                          <a:latin typeface="Times New Roman" panose="02020603050405020304" pitchFamily="18" charset="0"/>
                          <a:ea typeface="+mn-ea"/>
                          <a:cs typeface="+mn-cs"/>
                        </a:rPr>
                        <a:t>Đã t</a:t>
                      </a:r>
                      <a:r>
                        <a:rPr lang="vi-VN" sz="2000" b="0" kern="1200" spc="-10">
                          <a:solidFill>
                            <a:schemeClr val="tx1"/>
                          </a:solidFill>
                          <a:effectLst/>
                          <a:latin typeface="Times New Roman" panose="02020603050405020304" pitchFamily="18" charset="0"/>
                          <a:ea typeface="+mn-ea"/>
                          <a:cs typeface="+mn-cs"/>
                        </a:rPr>
                        <a:t>hu hút </a:t>
                      </a:r>
                      <a:r>
                        <a:rPr lang="en-US" sz="2000" b="0" kern="1200" spc="-10">
                          <a:solidFill>
                            <a:schemeClr val="tx1"/>
                          </a:solidFill>
                          <a:effectLst/>
                          <a:latin typeface="Times New Roman" panose="02020603050405020304" pitchFamily="18" charset="0"/>
                          <a:ea typeface="+mn-ea"/>
                          <a:cs typeface="+mn-cs"/>
                        </a:rPr>
                        <a:t>39</a:t>
                      </a:r>
                      <a:r>
                        <a:rPr lang="vi-VN" sz="2000" b="0" kern="1200" spc="-10">
                          <a:solidFill>
                            <a:schemeClr val="tx1"/>
                          </a:solidFill>
                          <a:effectLst/>
                          <a:latin typeface="Times New Roman" panose="02020603050405020304" pitchFamily="18" charset="0"/>
                          <a:ea typeface="+mn-ea"/>
                          <a:cs typeface="+mn-cs"/>
                        </a:rPr>
                        <a:t> dự án với tổng vốn đăng ký 10.697,3 tỷ đồng</a:t>
                      </a:r>
                      <a:r>
                        <a:rPr lang="nl-NL" sz="2000" b="0" kern="1200" spc="-10">
                          <a:solidFill>
                            <a:schemeClr val="tx1"/>
                          </a:solidFill>
                          <a:effectLst/>
                          <a:latin typeface="Times New Roman" panose="02020603050405020304" pitchFamily="18" charset="0"/>
                          <a:ea typeface="+mn-ea"/>
                          <a:cs typeface="+mn-cs"/>
                        </a:rPr>
                        <a:t>, </a:t>
                      </a:r>
                      <a:r>
                        <a:rPr lang="en-US" sz="2000" b="0" kern="1200" spc="-10">
                          <a:solidFill>
                            <a:schemeClr val="tx1"/>
                          </a:solidFill>
                          <a:effectLst/>
                          <a:latin typeface="Times New Roman" panose="02020603050405020304" pitchFamily="18" charset="0"/>
                          <a:ea typeface="+mn-ea"/>
                          <a:cs typeface="+mn-cs"/>
                        </a:rPr>
                        <a:t>đạt 65% kế hoạch năm (39/60 dự án); bao gồm 08 dự án trong Khu kinh tế Nhơn Hội và Khu công nghiệp với tổng vốn 472 tỷ đồng; 31 dự án ngoài Khu kinh tế và Khu công nghiệp với tổng vốn trên 10.224 tỷ đồng</a:t>
                      </a:r>
                      <a:r>
                        <a:rPr lang="vi-VN" sz="2000" b="0" kern="1200" spc="-10">
                          <a:solidFill>
                            <a:schemeClr val="tx1"/>
                          </a:solidFill>
                          <a:effectLst/>
                          <a:latin typeface="Times New Roman" panose="02020603050405020304" pitchFamily="18" charset="0"/>
                          <a:ea typeface="+mn-ea"/>
                          <a:cs typeface="+mn-cs"/>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spc="-10">
                          <a:solidFill>
                            <a:schemeClr val="tx1"/>
                          </a:solidFill>
                          <a:effectLst/>
                          <a:latin typeface="Times New Roman" panose="02020603050405020304" pitchFamily="18" charset="0"/>
                          <a:ea typeface="+mn-ea"/>
                          <a:cs typeface="+mn-cs"/>
                        </a:rPr>
                        <a:t> Một số dự án lớn đã thu hút thời gian qua như dự án </a:t>
                      </a:r>
                      <a:r>
                        <a:rPr lang="pl-PL" sz="2000" b="0" kern="1200" spc="-10">
                          <a:solidFill>
                            <a:schemeClr val="tx1"/>
                          </a:solidFill>
                          <a:effectLst/>
                          <a:latin typeface="Times New Roman" panose="02020603050405020304" pitchFamily="18" charset="0"/>
                          <a:ea typeface="+mn-ea"/>
                          <a:cs typeface="+mn-cs"/>
                        </a:rPr>
                        <a:t>Nhà máy gạch, ngói Takao với tổng vốn đầu tư 1.920 tỷ đồng; Nhà máy sản xuất và chế biến gỗ Tekcom Centra với tổng vốn đầu tư 980 tỷ đồng... </a:t>
                      </a:r>
                      <a:endParaRPr lang="vi-VN" sz="2000" b="0" kern="1200" spc="-10">
                        <a:solidFill>
                          <a:schemeClr val="tx1"/>
                        </a:solidFill>
                        <a:effectLst/>
                        <a:latin typeface="Times New Roman" panose="02020603050405020304" pitchFamily="18" charset="0"/>
                        <a:ea typeface="+mn-ea"/>
                        <a:cs typeface="+mn-cs"/>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spc="-10">
                          <a:solidFill>
                            <a:schemeClr val="tx1"/>
                          </a:solidFill>
                          <a:effectLst/>
                          <a:latin typeface="Times New Roman" panose="02020603050405020304" pitchFamily="18" charset="0"/>
                          <a:ea typeface="+mn-ea"/>
                          <a:cs typeface="+mn-cs"/>
                        </a:rPr>
                        <a:t> Kết quả thu hút đầu tư dù chưa được nhiều dự án lớn nhưng về số lượng dự án cơ bản đã đạt được tiến độ so với chỉ tiêu do UBND tỉnh giao (39/60 dự án, tỷ lệ 65%).</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spc="-10">
                          <a:solidFill>
                            <a:schemeClr val="tx1"/>
                          </a:solidFill>
                          <a:effectLst/>
                          <a:latin typeface="Times New Roman" panose="02020603050405020304" pitchFamily="18" charset="0"/>
                          <a:ea typeface="+mn-ea"/>
                          <a:cs typeface="+mn-cs"/>
                        </a:rPr>
                        <a:t> Thực hiện tinh thần hỗ trợ doanh nghiệp tháo gỡ khó khăn, vướng mắc, cải thiện môi trường đầu tư kinh doanh trên địa bàn tỉnh; trong thời gian qua các sở, ban, ngành liên quan thuộc tỉnh và UBND cấp huyện đã phối hợp tích cực, khẩn trương và có hiệu quả nên bước đầu đã giải quyết được những vướng mắc, khó khăn giúp cho một số dự án quan trọng có thể triển khai sớm.</a:t>
                      </a:r>
                      <a:endParaRPr lang="en-US" sz="20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79487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8624330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88770" y="411480"/>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2" name="Object 1">
            <a:extLst>
              <a:ext uri="{FF2B5EF4-FFF2-40B4-BE49-F238E27FC236}">
                <a16:creationId xmlns:a16="http://schemas.microsoft.com/office/drawing/2014/main" id="{476C5170-0EAE-A922-B17E-C7DFF6B5120E}"/>
              </a:ext>
            </a:extLst>
          </p:cNvPr>
          <p:cNvGraphicFramePr>
            <a:graphicFrameLocks noChangeAspect="1"/>
          </p:cNvGraphicFramePr>
          <p:nvPr>
            <p:extLst>
              <p:ext uri="{D42A27DB-BD31-4B8C-83A1-F6EECF244321}">
                <p14:modId xmlns:p14="http://schemas.microsoft.com/office/powerpoint/2010/main" val="4283965567"/>
              </p:ext>
            </p:extLst>
          </p:nvPr>
        </p:nvGraphicFramePr>
        <p:xfrm>
          <a:off x="600075" y="1517650"/>
          <a:ext cx="10991850" cy="3819525"/>
        </p:xfrm>
        <a:graphic>
          <a:graphicData uri="http://schemas.openxmlformats.org/presentationml/2006/ole">
            <mc:AlternateContent xmlns:mc="http://schemas.openxmlformats.org/markup-compatibility/2006">
              <mc:Choice xmlns:v="urn:schemas-microsoft-com:vml" Requires="v">
                <p:oleObj name="Worksheet" r:id="rId3" imgW="10991880" imgH="3819498" progId="Excel.Sheet.12">
                  <p:embed/>
                </p:oleObj>
              </mc:Choice>
              <mc:Fallback>
                <p:oleObj name="Worksheet" r:id="rId3" imgW="10991880" imgH="3819498" progId="Excel.Sheet.12">
                  <p:embed/>
                  <p:pic>
                    <p:nvPicPr>
                      <p:cNvPr id="2" name="Object 1">
                        <a:extLst>
                          <a:ext uri="{FF2B5EF4-FFF2-40B4-BE49-F238E27FC236}">
                            <a16:creationId xmlns:a16="http://schemas.microsoft.com/office/drawing/2014/main" id="{476C5170-0EAE-A922-B17E-C7DFF6B5120E}"/>
                          </a:ext>
                        </a:extLst>
                      </p:cNvPr>
                      <p:cNvPicPr/>
                      <p:nvPr/>
                    </p:nvPicPr>
                    <p:blipFill>
                      <a:blip r:embed="rId4"/>
                      <a:stretch>
                        <a:fillRect/>
                      </a:stretch>
                    </p:blipFill>
                    <p:spPr>
                      <a:xfrm>
                        <a:off x="600075" y="1517650"/>
                        <a:ext cx="10991850" cy="3819525"/>
                      </a:xfrm>
                      <a:prstGeom prst="rect">
                        <a:avLst/>
                      </a:prstGeom>
                    </p:spPr>
                  </p:pic>
                </p:oleObj>
              </mc:Fallback>
            </mc:AlternateContent>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50" y="1974253"/>
            <a:ext cx="2576082" cy="1689009"/>
            <a:chOff x="3724249" y="3747130"/>
            <a:chExt cx="1932061" cy="1171565"/>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20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8759" y="4555768"/>
              <a:ext cx="608581"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1</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20</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87334" y="4011325"/>
              <a:ext cx="608581"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44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0</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5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41681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8390811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627731993"/>
              </p:ext>
            </p:extLst>
          </p:nvPr>
        </p:nvGraphicFramePr>
        <p:xfrm>
          <a:off x="529904" y="1277224"/>
          <a:ext cx="11132191" cy="2987040"/>
        </p:xfrm>
        <a:graphic>
          <a:graphicData uri="http://schemas.openxmlformats.org/drawingml/2006/table">
            <a:tbl>
              <a:tblPr firstRow="1" bandRow="1"/>
              <a:tblGrid>
                <a:gridCol w="1113219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Đã t</a:t>
                      </a:r>
                      <a:r>
                        <a:rPr lang="nl-NL" sz="2000" b="0" kern="1200">
                          <a:solidFill>
                            <a:schemeClr val="dk1"/>
                          </a:solidFill>
                          <a:effectLst/>
                          <a:latin typeface="Times New Roman" panose="02020603050405020304" pitchFamily="18" charset="0"/>
                          <a:ea typeface="+mn-ea"/>
                          <a:cs typeface="Times New Roman" panose="02020603050405020304" pitchFamily="18" charset="0"/>
                        </a:rPr>
                        <a:t>ổ chức Hội nghị triển khai công tác quản lý C</a:t>
                      </a:r>
                      <a:r>
                        <a:rPr lang="vi-VN" sz="2000" b="0" kern="1200">
                          <a:solidFill>
                            <a:schemeClr val="dk1"/>
                          </a:solidFill>
                          <a:effectLst/>
                          <a:latin typeface="Times New Roman" panose="02020603050405020304" pitchFamily="18" charset="0"/>
                          <a:ea typeface="+mn-ea"/>
                          <a:cs typeface="Times New Roman" panose="02020603050405020304" pitchFamily="18" charset="0"/>
                        </a:rPr>
                        <a:t>hất thải rắn</a:t>
                      </a:r>
                      <a:r>
                        <a:rPr lang="nl-NL" sz="2000" b="0" kern="1200">
                          <a:solidFill>
                            <a:schemeClr val="dk1"/>
                          </a:solidFill>
                          <a:effectLst/>
                          <a:latin typeface="Times New Roman" panose="02020603050405020304" pitchFamily="18" charset="0"/>
                          <a:ea typeface="+mn-ea"/>
                          <a:cs typeface="Times New Roman" panose="02020603050405020304" pitchFamily="18" charset="0"/>
                        </a:rPr>
                        <a:t> trên địa bàn tỉnh và Hội thảo tham vấn về giải pháp và công nghệ xử lý C</a:t>
                      </a:r>
                      <a:r>
                        <a:rPr lang="vi-VN" sz="2000" b="0" kern="1200">
                          <a:solidFill>
                            <a:schemeClr val="dk1"/>
                          </a:solidFill>
                          <a:effectLst/>
                          <a:latin typeface="Times New Roman" panose="02020603050405020304" pitchFamily="18" charset="0"/>
                          <a:ea typeface="+mn-ea"/>
                          <a:cs typeface="Times New Roman" panose="02020603050405020304" pitchFamily="18" charset="0"/>
                        </a:rPr>
                        <a:t>hất thải rắn</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sinh hoạt</a:t>
                      </a:r>
                      <a:r>
                        <a:rPr lang="nl-NL" sz="2000" b="0" kern="1200">
                          <a:solidFill>
                            <a:schemeClr val="dk1"/>
                          </a:solidFill>
                          <a:effectLst/>
                          <a:latin typeface="Times New Roman" panose="02020603050405020304" pitchFamily="18" charset="0"/>
                          <a:ea typeface="+mn-ea"/>
                          <a:cs typeface="Times New Roman" panose="02020603050405020304" pitchFamily="18" charset="0"/>
                        </a:rPr>
                        <a:t> trên địa bàn tỉnh.</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ỷ lệ thu </a:t>
                      </a:r>
                      <a:r>
                        <a:rPr lang="en-US" sz="2000" b="0" kern="1200">
                          <a:solidFill>
                            <a:schemeClr val="dk1"/>
                          </a:solidFill>
                          <a:effectLst/>
                          <a:latin typeface="Times New Roman" panose="02020603050405020304" pitchFamily="18" charset="0"/>
                          <a:ea typeface="+mn-ea"/>
                          <a:cs typeface="Times New Roman" panose="02020603050405020304" pitchFamily="18" charset="0"/>
                        </a:rPr>
                        <a:t>g</a:t>
                      </a:r>
                      <a:r>
                        <a:rPr lang="vi-VN" sz="2000" b="0" kern="1200">
                          <a:solidFill>
                            <a:schemeClr val="dk1"/>
                          </a:solidFill>
                          <a:effectLst/>
                          <a:latin typeface="Times New Roman" panose="02020603050405020304" pitchFamily="18" charset="0"/>
                          <a:ea typeface="+mn-ea"/>
                          <a:cs typeface="Times New Roman" panose="02020603050405020304" pitchFamily="18" charset="0"/>
                        </a:rPr>
                        <a:t>om rác đô thị có sự gia tăng nhưng chưa đồng đều giữa các địa phương</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Xây dựng hệ thống dữ liệu cập nhật tình hình thu gom C</a:t>
                      </a:r>
                      <a:r>
                        <a:rPr lang="vi-VN" sz="2000" b="0" kern="1200">
                          <a:solidFill>
                            <a:schemeClr val="dk1"/>
                          </a:solidFill>
                          <a:effectLst/>
                          <a:latin typeface="Times New Roman" panose="02020603050405020304" pitchFamily="18" charset="0"/>
                          <a:ea typeface="+mn-ea"/>
                          <a:cs typeface="Times New Roman" panose="02020603050405020304" pitchFamily="18" charset="0"/>
                        </a:rPr>
                        <a:t>hất thải rắn</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sinh hoạt</a:t>
                      </a:r>
                      <a:r>
                        <a:rPr lang="nl-NL" sz="2000" b="0" kern="1200">
                          <a:solidFill>
                            <a:schemeClr val="dk1"/>
                          </a:solidFill>
                          <a:effectLst/>
                          <a:latin typeface="Times New Roman" panose="02020603050405020304" pitchFamily="18" charset="0"/>
                          <a:ea typeface="+mn-ea"/>
                          <a:cs typeface="Times New Roman" panose="02020603050405020304" pitchFamily="18" charset="0"/>
                        </a:rPr>
                        <a:t>  trên địa bàn tỉnh và hướng dẫn địa phương thực hiện thống kê, báo cáo định kỳ.</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Triển khai hoạt động các Tổ công tác xử lý kiến nghị của doanh nghiệp, địa phương về các dự án đầu tư xử lý chất thải rắn sinh hoạt trên địa bàn tỉnh</a:t>
                      </a:r>
                      <a:r>
                        <a:rPr lang="vi-VN" sz="2000" b="0" kern="1200">
                          <a:solidFill>
                            <a:schemeClr val="dk1"/>
                          </a:solidFill>
                          <a:effectLst/>
                          <a:latin typeface="Times New Roman" panose="02020603050405020304" pitchFamily="18" charset="0"/>
                          <a:ea typeface="+mn-ea"/>
                          <a:cs typeface="Times New Roman" panose="02020603050405020304" pitchFamily="18" charset="0"/>
                        </a:rPr>
                        <a:t> và Tổ</a:t>
                      </a:r>
                      <a:r>
                        <a:rPr lang="nl-NL" sz="2000" b="0" kern="1200">
                          <a:solidFill>
                            <a:schemeClr val="dk1"/>
                          </a:solidFill>
                          <a:effectLst/>
                          <a:latin typeface="Times New Roman" panose="02020603050405020304" pitchFamily="18" charset="0"/>
                          <a:ea typeface="+mn-ea"/>
                          <a:cs typeface="Times New Roman" panose="02020603050405020304" pitchFamily="18" charset="0"/>
                        </a:rPr>
                        <a:t> kiểm tra, giám sát việc thu gom, vận chuyển, xử lý chất thải rắn sinh hoạt trên địa bàn tỉnh</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03705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330576" y="1435806"/>
            <a:ext cx="11530848" cy="4996240"/>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it-IT" sz="2800">
                <a:effectLst/>
                <a:latin typeface="Times New Roman" panose="02020603050405020304" pitchFamily="18" charset="0"/>
                <a:ea typeface="Times New Roman" panose="02020603050405020304" pitchFamily="18" charset="0"/>
              </a:rPr>
              <a:t>Đã tổ chức thành công nhiều Chương trình nghệ thuật, lễ kỷ niệm, tuyên truyền các sự kiện chính trị lớn của đất nước, của tỉnh</a:t>
            </a:r>
            <a:r>
              <a:rPr lang="vi-VN" sz="2800">
                <a:effectLst/>
                <a:latin typeface="Times New Roman" panose="02020603050405020304" pitchFamily="18" charset="0"/>
                <a:ea typeface="Times New Roman" panose="02020603050405020304" pitchFamily="18" charset="0"/>
              </a:rPr>
              <a:t> như:</a:t>
            </a: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Lễ kỷ niệm chào mừng 93 năm thành lập Đảng cộng sản Việt Nam</a:t>
            </a:r>
            <a:endParaRPr lang="vi-VN" sz="2800">
              <a:latin typeface="Times New Roman" panose="02020603050405020304" pitchFamily="18" charset="0"/>
            </a:endParaRP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48 năm Ngày giải phóng miền Nam, thống nhất đất nước</a:t>
            </a:r>
            <a:endParaRPr lang="vi-VN" sz="2800">
              <a:latin typeface="Times New Roman" panose="02020603050405020304" pitchFamily="18" charset="0"/>
            </a:endParaRP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Ngày hội Văn hóa - Thể thao miền biển lần thứ XIV năm 2023</a:t>
            </a:r>
            <a:endParaRPr lang="vi-VN" sz="280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800" spc="-10">
                <a:effectLst/>
                <a:latin typeface="Times New Roman" panose="02020603050405020304" pitchFamily="18" charset="0"/>
                <a:ea typeface="Times New Roman" panose="02020603050405020304" pitchFamily="18" charset="0"/>
              </a:rPr>
              <a:t>Các hoạt động nghệ thuật, lễ hội dân gian truyền thống, thể dục thể thao quần chúng được tổ chức với nhiều nội dung đặc sắc, phong phú</a:t>
            </a:r>
            <a:endParaRPr lang="vi-VN" sz="2800" spc="-10">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800">
                <a:latin typeface="Times New Roman" panose="02020603050405020304" pitchFamily="18" charset="0"/>
              </a:rPr>
              <a:t>Tại SEA Games 32, các vận động viên </a:t>
            </a:r>
            <a:r>
              <a:rPr lang="vi-VN" sz="2800">
                <a:latin typeface="Times New Roman" panose="02020603050405020304" pitchFamily="18" charset="0"/>
              </a:rPr>
              <a:t>của tỉnh </a:t>
            </a:r>
            <a:r>
              <a:rPr lang="it-IT" sz="2800">
                <a:latin typeface="Times New Roman" panose="02020603050405020304" pitchFamily="18" charset="0"/>
              </a:rPr>
              <a:t>tranh tài tại 03 môn thi đấu</a:t>
            </a:r>
            <a:r>
              <a:rPr lang="vi-VN" sz="2800">
                <a:latin typeface="Times New Roman" panose="02020603050405020304" pitchFamily="18" charset="0"/>
              </a:rPr>
              <a:t>, đạt tổng cộng  03 Huy chương Vàng và 03 Huy chương Bạc</a:t>
            </a:r>
          </a:p>
        </p:txBody>
      </p:sp>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1. Về văn hóa, thể thao</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2. Về Giáo dục đào tạo</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A9580A04-85B9-CB8C-0FF7-B7307211FA2B}"/>
              </a:ext>
            </a:extLst>
          </p:cNvPr>
          <p:cNvSpPr/>
          <p:nvPr/>
        </p:nvSpPr>
        <p:spPr>
          <a:xfrm>
            <a:off x="414466" y="1561351"/>
            <a:ext cx="11530848" cy="4237057"/>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Bảo đảm tiến độ chương trình, nội dung năm học 2022-2023</a:t>
            </a:r>
          </a:p>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Chuẩn bị tổ chức tốt Kỳ thi tốt nghiệp trung học phổ thông và tuyển sinh đại học, cao đẳng năm 2023</a:t>
            </a:r>
          </a:p>
          <a:p>
            <a:pPr lvl="1" indent="-457200" algn="just">
              <a:spcBef>
                <a:spcPts val="435"/>
              </a:spcBef>
              <a:spcAft>
                <a:spcPts val="1200"/>
              </a:spcAft>
              <a:buSzPct val="100000"/>
              <a:buFont typeface="Wingdings" panose="05000000000000000000" pitchFamily="2" charset="2"/>
              <a:buChar char="Ø"/>
            </a:pPr>
            <a:r>
              <a:rPr lang="vi-VN" sz="2400" spc="-10">
                <a:latin typeface="Times New Roman" panose="02020603050405020304" pitchFamily="18" charset="0"/>
              </a:rPr>
              <a:t>Đã </a:t>
            </a:r>
            <a:r>
              <a:rPr lang="nb-NO" sz="2400" spc="-10">
                <a:latin typeface="Times New Roman" panose="02020603050405020304" pitchFamily="18" charset="0"/>
              </a:rPr>
              <a:t>triển khai Chương trình giáo dục phổ thông 2018 </a:t>
            </a:r>
            <a:r>
              <a:rPr lang="vi-VN" sz="2400" spc="-10">
                <a:latin typeface="Times New Roman" panose="02020603050405020304" pitchFamily="18" charset="0"/>
              </a:rPr>
              <a:t>đảm bảo </a:t>
            </a:r>
            <a:r>
              <a:rPr lang="nb-NO" sz="2400" spc="-10">
                <a:latin typeface="Times New Roman" panose="02020603050405020304" pitchFamily="18" charset="0"/>
              </a:rPr>
              <a:t>theo lộ trình</a:t>
            </a:r>
            <a:r>
              <a:rPr lang="vi-VN" sz="2400" spc="-10">
                <a:latin typeface="Times New Roman" panose="02020603050405020304" pitchFamily="18" charset="0"/>
              </a:rPr>
              <a:t>, </a:t>
            </a:r>
            <a:r>
              <a:rPr lang="da-DK" sz="2400">
                <a:latin typeface="Times New Roman" panose="02020603050405020304" pitchFamily="18" charset="0"/>
              </a:rPr>
              <a:t>hoàn thành việc lựa chọn sách giáo khoa lớp 4, lớp 8 và lớp 11</a:t>
            </a:r>
            <a:endParaRPr lang="vi-VN"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400">
                <a:effectLst/>
                <a:latin typeface="Times New Roman" panose="02020603050405020304" pitchFamily="18" charset="0"/>
                <a:ea typeface="Times New Roman" panose="02020603050405020304" pitchFamily="18" charset="0"/>
              </a:rPr>
              <a:t>Công tác xây dựng trường chuẩn quốc gia đạt hiệu quả tốt. </a:t>
            </a:r>
            <a:r>
              <a:rPr lang="vi-VN" sz="2400">
                <a:effectLst/>
                <a:latin typeface="Times New Roman" panose="02020603050405020304" pitchFamily="18" charset="0"/>
                <a:ea typeface="Times New Roman" panose="02020603050405020304" pitchFamily="18" charset="0"/>
              </a:rPr>
              <a:t>T</a:t>
            </a:r>
            <a:r>
              <a:rPr lang="it-IT" sz="2400">
                <a:effectLst/>
                <a:latin typeface="Times New Roman" panose="02020603050405020304" pitchFamily="18" charset="0"/>
                <a:ea typeface="Times New Roman" panose="02020603050405020304" pitchFamily="18" charset="0"/>
              </a:rPr>
              <a:t>oàn tỉnh có </a:t>
            </a:r>
            <a:r>
              <a:rPr lang="it-IT" sz="2400">
                <a:latin typeface="Times New Roman" panose="02020603050405020304" pitchFamily="18" charset="0"/>
                <a:ea typeface="Times New Roman" panose="02020603050405020304" pitchFamily="18" charset="0"/>
              </a:rPr>
              <a:t>415</a:t>
            </a:r>
            <a:r>
              <a:rPr lang="it-IT" sz="2400">
                <a:effectLst/>
                <a:latin typeface="Times New Roman" panose="02020603050405020304" pitchFamily="18" charset="0"/>
                <a:ea typeface="Times New Roman" panose="02020603050405020304" pitchFamily="18" charset="0"/>
              </a:rPr>
              <a:t>/626 trường học đạt chuẩn quốc gia, tỷ lệ 62,14%, tăng 4,2% so với cùng kỳ (tăng 26 trường)</a:t>
            </a:r>
            <a:endParaRPr lang="vi-VN" sz="240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da-DK" sz="2400" spc="-10">
                <a:effectLst/>
                <a:latin typeface="Times New Roman" panose="02020603050405020304" pitchFamily="18" charset="0"/>
                <a:ea typeface="Times New Roman" panose="02020603050405020304" pitchFamily="18" charset="0"/>
              </a:rPr>
              <a:t>Công tác bồi dưỡng học sinh giỏi đạt nhiều kết quả tích cực</a:t>
            </a:r>
            <a:r>
              <a:rPr lang="vi-VN" sz="2400" spc="-10">
                <a:latin typeface="Times New Roman" panose="02020603050405020304" pitchFamily="18" charset="0"/>
                <a:ea typeface="Times New Roman" panose="02020603050405020304" pitchFamily="18" charset="0"/>
              </a:rPr>
              <a:t>, có </a:t>
            </a:r>
            <a:r>
              <a:rPr lang="da-DK" sz="2400" spc="-10">
                <a:effectLst/>
                <a:latin typeface="Times New Roman" panose="02020603050405020304" pitchFamily="18" charset="0"/>
                <a:ea typeface="Times New Roman" panose="02020603050405020304" pitchFamily="18" charset="0"/>
              </a:rPr>
              <a:t>36 học sinh đạt giải</a:t>
            </a:r>
            <a:r>
              <a:rPr lang="vi-VN" sz="2400" spc="-10">
                <a:effectLst/>
                <a:latin typeface="Times New Roman" panose="02020603050405020304" pitchFamily="18" charset="0"/>
                <a:ea typeface="Times New Roman" panose="02020603050405020304" pitchFamily="18" charset="0"/>
              </a:rPr>
              <a:t> trong kỳ </a:t>
            </a:r>
            <a:r>
              <a:rPr lang="da-DK" sz="2400" spc="-10">
                <a:effectLst/>
                <a:latin typeface="Times New Roman" panose="02020603050405020304" pitchFamily="18" charset="0"/>
                <a:ea typeface="Times New Roman" panose="02020603050405020304" pitchFamily="18" charset="0"/>
              </a:rPr>
              <a:t>thi</a:t>
            </a:r>
            <a:r>
              <a:rPr lang="vi-VN" sz="2400" spc="-10">
                <a:effectLst/>
                <a:latin typeface="Times New Roman" panose="02020603050405020304" pitchFamily="18" charset="0"/>
                <a:ea typeface="Times New Roman" panose="02020603050405020304" pitchFamily="18" charset="0"/>
              </a:rPr>
              <a:t> HSG</a:t>
            </a:r>
            <a:r>
              <a:rPr lang="da-DK" sz="2400" spc="-10">
                <a:effectLst/>
                <a:latin typeface="Times New Roman" panose="02020603050405020304" pitchFamily="18" charset="0"/>
                <a:ea typeface="Times New Roman" panose="02020603050405020304" pitchFamily="18" charset="0"/>
              </a:rPr>
              <a:t> cấp quốc gia</a:t>
            </a:r>
            <a:endParaRPr lang="vi-VN" sz="240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719214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3. Về Y tế</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710E3433-6F22-39F0-3EDD-1052A826E7F2}"/>
              </a:ext>
            </a:extLst>
          </p:cNvPr>
          <p:cNvSpPr/>
          <p:nvPr/>
        </p:nvSpPr>
        <p:spPr>
          <a:xfrm>
            <a:off x="414466" y="1561351"/>
            <a:ext cx="11530848" cy="3826689"/>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nl-NL" sz="2400" spc="-10">
                <a:solidFill>
                  <a:prstClr val="black"/>
                </a:solidFill>
                <a:latin typeface="Times New Roman" pitchFamily="18" charset="0"/>
                <a:ea typeface="Times New Roman" panose="02020603050405020304" pitchFamily="18" charset="0"/>
                <a:cs typeface="Times New Roman" pitchFamily="18" charset="0"/>
              </a:rPr>
              <a:t>Công tác phòng, chống dịch Covid-19 và các dịch bệnh nguy hiểm ở người triển khai hiệu quả </a:t>
            </a:r>
          </a:p>
          <a:p>
            <a:pPr lvl="1" indent="-457200" algn="just">
              <a:spcBef>
                <a:spcPts val="435"/>
              </a:spcBef>
              <a:spcAft>
                <a:spcPts val="1200"/>
              </a:spcAft>
              <a:buSzPct val="100000"/>
              <a:buFont typeface="Wingdings" panose="05000000000000000000" pitchFamily="2" charset="2"/>
              <a:buChar char="Ø"/>
            </a:pPr>
            <a:r>
              <a:rPr lang="en-US" sz="2400" spc="-10">
                <a:solidFill>
                  <a:prstClr val="black"/>
                </a:solidFill>
                <a:latin typeface="Times New Roman" pitchFamily="18" charset="0"/>
                <a:cs typeface="Times New Roman" pitchFamily="18" charset="0"/>
              </a:rPr>
              <a:t>Tiếp tục t</a:t>
            </a:r>
            <a:r>
              <a:rPr lang="vi-VN" sz="2400" spc="-10">
                <a:solidFill>
                  <a:prstClr val="black"/>
                </a:solidFill>
                <a:latin typeface="Times New Roman" pitchFamily="18" charset="0"/>
                <a:cs typeface="Times New Roman" pitchFamily="18" charset="0"/>
              </a:rPr>
              <a:t>ăng cường triển khai các hoạt động củng cố và nâng cao năng lực của các đơn vị từ tuyến tỉnh đến tuyến y tế cơ sở đảm bảo được các yêu cầu về triển khai công tác phòng, chống dịch bệnh nguy hiểm, mới nổi và triển khai các chương trình sức khoẻ cộng đồng, nhất là năng lực chăm sóc và quản lý các bệnh không lây nhiễm tại tuyến y tế cơ sở</a:t>
            </a:r>
          </a:p>
          <a:p>
            <a:pPr lvl="1" indent="-457200" algn="just">
              <a:spcBef>
                <a:spcPts val="435"/>
              </a:spcBef>
              <a:spcAft>
                <a:spcPts val="1200"/>
              </a:spcAft>
              <a:buSzPct val="100000"/>
              <a:buFont typeface="Wingdings" panose="05000000000000000000" pitchFamily="2" charset="2"/>
              <a:buChar char="Ø"/>
            </a:pPr>
            <a:r>
              <a:rPr lang="vi-VN" sz="2400" spc="-10">
                <a:solidFill>
                  <a:prstClr val="black"/>
                </a:solidFill>
                <a:latin typeface="Times New Roman" pitchFamily="18" charset="0"/>
                <a:ea typeface="Times New Roman" panose="02020603050405020304" pitchFamily="18" charset="0"/>
                <a:cs typeface="Times New Roman" pitchFamily="18" charset="0"/>
              </a:rPr>
              <a:t>C</a:t>
            </a:r>
            <a:r>
              <a:rPr lang="nl-NL" sz="2400" spc="-10">
                <a:solidFill>
                  <a:prstClr val="black"/>
                </a:solidFill>
                <a:latin typeface="Times New Roman" pitchFamily="18" charset="0"/>
                <a:ea typeface="Times New Roman" panose="02020603050405020304" pitchFamily="18" charset="0"/>
                <a:cs typeface="Times New Roman" pitchFamily="18" charset="0"/>
              </a:rPr>
              <a:t>ông tác y tế dự phòng, khám chữa bệnh, chăm sóc sức khỏe nhân dân, tiếp tục được quan tâm. Duy trì thường xuyên hoạt động truyền thông về đảm bảo VSATTP và giám sát các nguy cơ ô nhiễm thực phẩm trong cộng đồng</a:t>
            </a:r>
          </a:p>
        </p:txBody>
      </p:sp>
    </p:spTree>
    <p:extLst>
      <p:ext uri="{BB962C8B-B14F-4D97-AF65-F5344CB8AC3E}">
        <p14:creationId xmlns:p14="http://schemas.microsoft.com/office/powerpoint/2010/main" val="32513028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6690642"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4. Về Lao động, việc làm, an sinh xã hội</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0E85AE63-3D48-B705-DC2C-837405C4EFCD}"/>
              </a:ext>
            </a:extLst>
          </p:cNvPr>
          <p:cNvSpPr/>
          <p:nvPr/>
        </p:nvSpPr>
        <p:spPr>
          <a:xfrm>
            <a:off x="414466" y="1561351"/>
            <a:ext cx="11530848" cy="3867725"/>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en-US" sz="2400">
                <a:solidFill>
                  <a:schemeClr val="dk1"/>
                </a:solidFill>
                <a:latin typeface="Times New Roman" panose="02020603050405020304" pitchFamily="18" charset="0"/>
                <a:cs typeface="Times New Roman" panose="02020603050405020304" pitchFamily="18" charset="0"/>
              </a:rPr>
              <a:t>6 tháng đầu năm đã tạo việc làm mới cho trên 17.000 lao động, đạt 59,8% kế hoạch năm</a:t>
            </a:r>
          </a:p>
          <a:p>
            <a:pPr lvl="1" indent="-457200" algn="just">
              <a:spcBef>
                <a:spcPts val="435"/>
              </a:spcBef>
              <a:spcAft>
                <a:spcPts val="1200"/>
              </a:spcAft>
              <a:buSzPct val="100000"/>
              <a:buFont typeface="Wingdings" panose="05000000000000000000" pitchFamily="2" charset="2"/>
              <a:buChar char="Ø"/>
            </a:pPr>
            <a:r>
              <a:rPr lang="it-IT" sz="2400">
                <a:solidFill>
                  <a:schemeClr val="dk1"/>
                </a:solidFill>
                <a:latin typeface="Times New Roman" panose="02020603050405020304" pitchFamily="18" charset="0"/>
                <a:cs typeface="Times New Roman" panose="02020603050405020304" pitchFamily="18" charset="0"/>
              </a:rPr>
              <a:t>Có 595 người đi làm việc ở nước ngoài, đạt 85% kế hoạch, tăng 34,1% so với cùng kỳ, trong đó chủ yếu là thị trường Nhật Bản (545 người).</a:t>
            </a:r>
            <a:endParaRPr lang="vi-VN" sz="2400">
              <a:solidFill>
                <a:schemeClr val="dk1"/>
              </a:solidFill>
              <a:latin typeface="Times New Roman" panose="02020603050405020304" pitchFamily="18" charset="0"/>
              <a:cs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nl-NL" sz="2400" b="0" kern="1200">
                <a:solidFill>
                  <a:schemeClr val="dk1"/>
                </a:solidFill>
                <a:effectLst/>
                <a:latin typeface="Times New Roman" panose="02020603050405020304" pitchFamily="18" charset="0"/>
                <a:ea typeface="+mn-ea"/>
                <a:cs typeface="Times New Roman" panose="02020603050405020304" pitchFamily="18" charset="0"/>
              </a:rPr>
              <a:t>Công tác an sinh xã hội, chăm lo cho các đối tượng chính sách, đồng bào các dân tộc, vùng sâu, vùng xa, hải đảo tiếp tục được thực hiện</a:t>
            </a:r>
          </a:p>
          <a:p>
            <a:pPr lvl="1" indent="-457200" algn="just">
              <a:spcBef>
                <a:spcPts val="435"/>
              </a:spcBef>
              <a:spcAft>
                <a:spcPts val="1200"/>
              </a:spcAft>
              <a:buSzPct val="100000"/>
              <a:buFont typeface="Wingdings" panose="05000000000000000000" pitchFamily="2" charset="2"/>
              <a:buChar char="Ø"/>
            </a:pPr>
            <a:r>
              <a:rPr lang="en-US" sz="2400">
                <a:solidFill>
                  <a:schemeClr val="dk1"/>
                </a:solidFill>
                <a:latin typeface="Times New Roman" panose="02020603050405020304" pitchFamily="18" charset="0"/>
                <a:cs typeface="Times New Roman" panose="02020603050405020304" pitchFamily="18" charset="0"/>
              </a:rPr>
              <a:t>Tỷ lệ nghèo đa chiều của tỉnh là 9,04% với 39.827 hộ (trong đó số hộ nghèo chiếm 4,5%; hộ cận nghèo chiếm 4,54%). So với năm 2021 giảm 2,3%</a:t>
            </a:r>
          </a:p>
          <a:p>
            <a:pPr lvl="1" indent="-457200" algn="just">
              <a:spcBef>
                <a:spcPts val="435"/>
              </a:spcBef>
              <a:spcAft>
                <a:spcPts val="1200"/>
              </a:spcAft>
              <a:buSzPct val="100000"/>
              <a:buFont typeface="Wingdings" panose="05000000000000000000" pitchFamily="2" charset="2"/>
              <a:buChar char="Ø"/>
            </a:pPr>
            <a:r>
              <a:rPr lang="it-IT" sz="2400">
                <a:solidFill>
                  <a:schemeClr val="dk1"/>
                </a:solidFill>
                <a:latin typeface="Times New Roman" panose="02020603050405020304" pitchFamily="18" charset="0"/>
                <a:cs typeface="Times New Roman" panose="02020603050405020304" pitchFamily="18" charset="0"/>
              </a:rPr>
              <a:t>Công tác bảo vệ, chăm sóc trẻ em tiếp tục được duy trì</a:t>
            </a:r>
            <a:endParaRPr lang="nl-NL"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623038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2" y="731614"/>
            <a:ext cx="7839935"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5. Về Thông tin truyền thông và Chuyển đổi số</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B1405CF5-1D52-D5B7-F187-87D10B6C93E3}"/>
              </a:ext>
            </a:extLst>
          </p:cNvPr>
          <p:cNvSpPr/>
          <p:nvPr/>
        </p:nvSpPr>
        <p:spPr>
          <a:xfrm>
            <a:off x="414466" y="1561351"/>
            <a:ext cx="11530848" cy="2144177"/>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nl-NL" sz="2400" b="0" kern="1200">
                <a:solidFill>
                  <a:schemeClr val="dk1"/>
                </a:solidFill>
                <a:effectLst/>
                <a:latin typeface="Times New Roman" panose="02020603050405020304" pitchFamily="18" charset="0"/>
                <a:ea typeface="+mn-ea"/>
                <a:cs typeface="Times New Roman" panose="02020603050405020304" pitchFamily="18" charset="0"/>
              </a:rPr>
              <a:t>Đã </a:t>
            </a:r>
            <a:r>
              <a:rPr lang="vi-VN" sz="2400" b="0" kern="1200">
                <a:solidFill>
                  <a:schemeClr val="dk1"/>
                </a:solidFill>
                <a:effectLst/>
                <a:latin typeface="Times New Roman" panose="02020603050405020304" pitchFamily="18" charset="0"/>
                <a:ea typeface="+mn-ea"/>
                <a:cs typeface="Times New Roman" panose="02020603050405020304" pitchFamily="18" charset="0"/>
              </a:rPr>
              <a:t>t</a:t>
            </a:r>
            <a:r>
              <a:rPr lang="en-US" sz="2400" b="0" kern="1200">
                <a:solidFill>
                  <a:schemeClr val="dk1"/>
                </a:solidFill>
                <a:effectLst/>
                <a:latin typeface="Times New Roman" panose="02020603050405020304" pitchFamily="18" charset="0"/>
                <a:ea typeface="+mn-ea"/>
                <a:cs typeface="Times New Roman" panose="02020603050405020304" pitchFamily="18" charset="0"/>
              </a:rPr>
              <a:t>ổ chức thành công Hội nghị Chuyển đổi số năm 2023 trên phạm vi toàn tỉnh</a:t>
            </a:r>
          </a:p>
          <a:p>
            <a:pPr lvl="1" indent="-457200" algn="just">
              <a:spcBef>
                <a:spcPts val="435"/>
              </a:spcBef>
              <a:spcAft>
                <a:spcPts val="1200"/>
              </a:spcAft>
              <a:buSzPct val="100000"/>
              <a:buFont typeface="Wingdings" panose="05000000000000000000" pitchFamily="2" charset="2"/>
              <a:buChar char="Ø"/>
            </a:pPr>
            <a:r>
              <a:rPr lang="en-US" sz="2400">
                <a:solidFill>
                  <a:schemeClr val="dk1"/>
                </a:solidFill>
                <a:latin typeface="Times New Roman" panose="02020603050405020304" pitchFamily="18" charset="0"/>
                <a:cs typeface="Times New Roman" panose="02020603050405020304" pitchFamily="18" charset="0"/>
              </a:rPr>
              <a:t>Ngành Thông tin và truyền thông đã tổ chức tập huấn, bồi dưỡng kiến thức Chuyển đổi số năm 2023; trong đó tập trung các chuyên đề tập huấn kiến thức cơ bản về chuyển đổi số và nâng cao kiến thức, nghiệp vụ quản lý nhà nước trên nền tảng chuyển đổi số cho từ tỉnh đến cấp xã</a:t>
            </a:r>
            <a:endParaRPr lang="nl-NL"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7504157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6. Hoạt động đối ngoại</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4A5CC767-3BC7-5025-FC6C-29F07C0192CB}"/>
              </a:ext>
            </a:extLst>
          </p:cNvPr>
          <p:cNvSpPr/>
          <p:nvPr/>
        </p:nvSpPr>
        <p:spPr>
          <a:xfrm>
            <a:off x="399047" y="1679803"/>
            <a:ext cx="11393906" cy="4442242"/>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nb-NO" sz="2400" spc="-10">
                <a:effectLst/>
                <a:latin typeface="Times New Roman" panose="02020603050405020304" pitchFamily="18" charset="0"/>
                <a:ea typeface="Times New Roman" panose="02020603050405020304" pitchFamily="18" charset="0"/>
              </a:rPr>
              <a:t>Công tác đối ngoại có nhiều cố gắng đổi mới trong hoạt </a:t>
            </a:r>
            <a:r>
              <a:rPr lang="nb-NO" sz="2400" spc="-10">
                <a:latin typeface="Times New Roman" panose="02020603050405020304" pitchFamily="18" charset="0"/>
              </a:rPr>
              <a:t>động, </a:t>
            </a:r>
            <a:r>
              <a:rPr lang="en-US" sz="2400" spc="-10">
                <a:latin typeface="Times New Roman" panose="02020603050405020304" pitchFamily="18" charset="0"/>
              </a:rPr>
              <a:t>các đoàn khách ngoại giao, khách quốc tế đến tỉnh thăm đều được đón tiếp chu đáo, trọng thị</a:t>
            </a:r>
            <a:endParaRPr lang="nb-NO" sz="2400" spc="-1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nb-NO" sz="2400" spc="-10">
                <a:solidFill>
                  <a:prstClr val="black"/>
                </a:solidFill>
                <a:latin typeface="Times New Roman" panose="02020603050405020304" pitchFamily="18" charset="0"/>
                <a:cs typeface="Times New Roman" pitchFamily="18" charset="0"/>
              </a:rPr>
              <a:t>Đã tổ chức nhiều sự kiện </a:t>
            </a:r>
            <a:r>
              <a:rPr lang="nb-NO" sz="2400" spc="-10">
                <a:effectLst/>
                <a:latin typeface="Times New Roman" panose="02020603050405020304" pitchFamily="18" charset="0"/>
                <a:ea typeface="Times New Roman" panose="02020603050405020304" pitchFamily="18" charset="0"/>
              </a:rPr>
              <a:t>quan trọng với quy mô lớn, thu hút sự quan tâm của nhiều nhà đầu tư, doanh nghiệp, đối tác nước ngoài và các cơ quan, đơn vị trong nước</a:t>
            </a:r>
          </a:p>
          <a:p>
            <a:pPr lvl="1" indent="-457200" algn="just">
              <a:spcBef>
                <a:spcPts val="435"/>
              </a:spcBef>
              <a:spcAft>
                <a:spcPts val="1200"/>
              </a:spcAft>
              <a:buSzPct val="100000"/>
              <a:buFont typeface="Wingdings" panose="05000000000000000000" pitchFamily="2" charset="2"/>
              <a:buChar char="Ø"/>
            </a:pPr>
            <a:r>
              <a:rPr lang="en-US" sz="2400" spc="-10">
                <a:latin typeface="Times New Roman" panose="02020603050405020304" pitchFamily="18" charset="0"/>
              </a:rPr>
              <a:t>UBND tỉnh đã tổ chức Đoàn công tác xúc tiến đầu tư tại Thái Lan, Đức, Nhật và đang chuẩn bị tổ chức xúc tiến đầu tư tại Mỹ</a:t>
            </a:r>
            <a:endParaRPr lang="nb-NO" sz="2400" spc="-1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endParaRPr lang="en-US" sz="2400" spc="-10">
              <a:solidFill>
                <a:prstClr val="black"/>
              </a:solidFill>
              <a:latin typeface="Times New Roman" pitchFamily="18" charset="0"/>
              <a:cs typeface="Times New Roman" pitchFamily="18" charset="0"/>
            </a:endParaRPr>
          </a:p>
          <a:p>
            <a:pPr lvl="1" indent="-457200" algn="just">
              <a:spcBef>
                <a:spcPts val="435"/>
              </a:spcBef>
              <a:spcAft>
                <a:spcPts val="1200"/>
              </a:spcAft>
              <a:buSzPct val="100000"/>
              <a:buFont typeface="Wingdings" panose="05000000000000000000" pitchFamily="2" charset="2"/>
              <a:buChar char="Ø"/>
            </a:pPr>
            <a:endParaRPr lang="nb-NO" sz="2400" spc="-1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endParaRPr lang="nl-NL"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459328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141719837"/>
              </p:ext>
            </p:extLst>
          </p:nvPr>
        </p:nvGraphicFramePr>
        <p:xfrm>
          <a:off x="607192" y="1157076"/>
          <a:ext cx="11153883" cy="4236720"/>
        </p:xfrm>
        <a:graphic>
          <a:graphicData uri="http://schemas.openxmlformats.org/drawingml/2006/table">
            <a:tbl>
              <a:tblPr firstRow="1" bandRow="1"/>
              <a:tblGrid>
                <a:gridCol w="11153883">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Về kết quả công bố một số chỉ số liên quan đến công tác cải cách hành chính của tỉnh năm 2022:</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hỉ số hiệu quả Quản trị và Hành chính công cấp tỉnh (PAPI) đạt 41.67 điểm, giảm 0.26 điểm, xếp hạng 38/61 tỉnh, thành phố (năm 2021 đạt 41.93 điểm, xếp hạng 37/60 tỉnh, thành phố);</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hỉ số cải cách hành chính (PAR index) đạt được là 85.03%, đứng vị trí 33/63 tỉnh, thành, thuộc nhóm B, giảm 03 bậc so với năm 2021;</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hỉ số hài lòng của người dân, tổ chức đối với sự phục vụ của cơ quan hành chính nhà nước (SIPAS) đạt 81.78% đứng vị trí 21/63 tỉnh, thành phố cả nước. </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802465441"/>
      </p:ext>
    </p:extLst>
  </p:cSld>
  <p:clrMapOvr>
    <a:masterClrMapping/>
  </p:clrMapOvr>
  <p:transition spd="slow">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B458B2-ABEE-0E4C-31F7-5318B2296E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160" y="973123"/>
            <a:ext cx="5315404" cy="5771511"/>
          </a:xfrm>
          <a:prstGeom prst="rect">
            <a:avLst/>
          </a:prstGeom>
        </p:spPr>
      </p:pic>
      <p:sp>
        <p:nvSpPr>
          <p:cNvPr id="11" name="TextBox 10">
            <a:extLst>
              <a:ext uri="{FF2B5EF4-FFF2-40B4-BE49-F238E27FC236}">
                <a16:creationId xmlns:a16="http://schemas.microsoft.com/office/drawing/2014/main" id="{3007B833-D772-D3A8-1664-582536F2954A}"/>
              </a:ext>
            </a:extLst>
          </p:cNvPr>
          <p:cNvSpPr txBox="1"/>
          <p:nvPr/>
        </p:nvSpPr>
        <p:spPr>
          <a:xfrm>
            <a:off x="5792084" y="1150044"/>
            <a:ext cx="5769271" cy="4170372"/>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just">
              <a:spcBef>
                <a:spcPts val="600"/>
              </a:spcBef>
            </a:pPr>
            <a:r>
              <a:rPr lang="vi-VN" sz="2000">
                <a:latin typeface="+mj-lt"/>
              </a:rPr>
              <a:t>Theo PCI 2022, tổng số điểm PCI tỉnh Bình Định đạt được là 66,65 điểm đứng thứ 21/63 (thuộc nhóm 30 địa phương có chất lượng điều hành tốt nhất).</a:t>
            </a:r>
          </a:p>
          <a:p>
            <a:pPr algn="just">
              <a:spcBef>
                <a:spcPts val="600"/>
              </a:spcBef>
            </a:pPr>
            <a:r>
              <a:rPr lang="vi-VN" sz="2000">
                <a:latin typeface="+mj-lt"/>
              </a:rPr>
              <a:t>Trong các chỉ số thành phần, chỉ số Cạnh tranh bình đẳng tỉnh Bình Định đạt 7,36 điểm, tăng 0,95 điểm so với năm 2021, thứ hạng 01/63, chỉ số này tỉnh Bình Định có xếp hạng đứng đầu cả nước, nguyên nhân vì nhiều doanh nghiệp tư nhân đã thuận lợi hơn trong việc tiếp cận các nguồn lực về đất đai, các khoản vay và thuận lợi hơn trong việc có được các hợp đồng từ cơ quan Nhà nước; được hỗ trợ công bằng trong thực hiện thủ tục hành chính, miễn giảm thuế thu nhập doanh nghiệp. </a:t>
            </a:r>
          </a:p>
        </p:txBody>
      </p:sp>
      <p:sp>
        <p:nvSpPr>
          <p:cNvPr id="4" name="Rectangle 3">
            <a:extLst>
              <a:ext uri="{FF2B5EF4-FFF2-40B4-BE49-F238E27FC236}">
                <a16:creationId xmlns:a16="http://schemas.microsoft.com/office/drawing/2014/main" id="{3DAAD17F-4A57-07B0-72E4-C7D0722B854E}"/>
              </a:ext>
            </a:extLst>
          </p:cNvPr>
          <p:cNvSpPr/>
          <p:nvPr/>
        </p:nvSpPr>
        <p:spPr>
          <a:xfrm>
            <a:off x="1101825" y="390575"/>
            <a:ext cx="400526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 (tt)</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80649645"/>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0738877F-56EF-4DEF-B5AA-1664DC8186CF}"/>
              </a:ext>
            </a:extLst>
          </p:cNvPr>
          <p:cNvGraphicFramePr>
            <a:graphicFrameLocks/>
          </p:cNvGraphicFramePr>
          <p:nvPr>
            <p:extLst>
              <p:ext uri="{D42A27DB-BD31-4B8C-83A1-F6EECF244321}">
                <p14:modId xmlns:p14="http://schemas.microsoft.com/office/powerpoint/2010/main" val="3962666204"/>
              </p:ext>
            </p:extLst>
          </p:nvPr>
        </p:nvGraphicFramePr>
        <p:xfrm>
          <a:off x="1107347" y="1614580"/>
          <a:ext cx="9597005" cy="465199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DE338C7-6E53-0F86-ED53-67FC923D06A8}"/>
              </a:ext>
            </a:extLst>
          </p:cNvPr>
          <p:cNvSpPr txBox="1"/>
          <p:nvPr/>
        </p:nvSpPr>
        <p:spPr>
          <a:xfrm>
            <a:off x="888770" y="411480"/>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Thực hiện chỉ tiêu GRDP của tỉnh</a:t>
            </a:r>
          </a:p>
        </p:txBody>
      </p:sp>
      <p:sp>
        <p:nvSpPr>
          <p:cNvPr id="4" name="TextBox 3">
            <a:extLst>
              <a:ext uri="{FF2B5EF4-FFF2-40B4-BE49-F238E27FC236}">
                <a16:creationId xmlns:a16="http://schemas.microsoft.com/office/drawing/2014/main" id="{82A58F1E-E2AD-B19A-A7E7-6ED94727028A}"/>
              </a:ext>
            </a:extLst>
          </p:cNvPr>
          <p:cNvSpPr txBox="1"/>
          <p:nvPr/>
        </p:nvSpPr>
        <p:spPr>
          <a:xfrm>
            <a:off x="1436852" y="841611"/>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Tốc độ tăng GRDP của tỉnh</a:t>
            </a:r>
          </a:p>
        </p:txBody>
      </p:sp>
    </p:spTree>
    <p:extLst>
      <p:ext uri="{BB962C8B-B14F-4D97-AF65-F5344CB8AC3E}">
        <p14:creationId xmlns:p14="http://schemas.microsoft.com/office/powerpoint/2010/main" val="38326238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400526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 (tt)</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214681445"/>
              </p:ext>
            </p:extLst>
          </p:nvPr>
        </p:nvGraphicFramePr>
        <p:xfrm>
          <a:off x="774973" y="1240966"/>
          <a:ext cx="10642054" cy="4145280"/>
        </p:xfrm>
        <a:graphic>
          <a:graphicData uri="http://schemas.openxmlformats.org/drawingml/2006/table">
            <a:tbl>
              <a:tblPr firstRow="1" bandRow="1"/>
              <a:tblGrid>
                <a:gridCol w="10642054">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Đã tổ chức 24 lớp đào tạo, bồi dưỡng cho 1.702 cán bộ, công chức cấp xã; công tác đào tạo, bồi dưỡng đã bám sát từng lĩnh vực chức danh cán bộ, công chức cấp xã; cập nhật kiến thức mới và bổ sung những vấn đề nảy sinh từ thực tiễn, phục vụ cho công tác lãnh đạo, quản lý, điều hành giải quyết công việc ở cơ sở; góp phần nâng cao năng lực, kỹ năng thực thi công vụ.</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Đã phê duyệt chính sách tinh giản biên chế năm 2023 đối với 36 cán bộ, công chức, viên chức với tổng số kinh phí là 5.998.444.000 đồng</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Tăng cường công tác kiểm tra cải cách hành chính, thực thi công vụ tại các cơ quan</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 Tổ chức tốt công tác giao nhận quân năm 2023 theo chỉ tiêu kế hoạch đề ra</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Chỉ đạo triển khai công tác diễn tập khu vực phòng thủ huyện Vân Canh, Tây Sơn</a:t>
                      </a:r>
                      <a:r>
                        <a:rPr lang="vi-VN" sz="2000" b="0" kern="1200">
                          <a:solidFill>
                            <a:schemeClr val="dk1"/>
                          </a:solidFill>
                          <a:effectLst/>
                          <a:latin typeface="Times New Roman" panose="02020603050405020304" pitchFamily="18" charset="0"/>
                          <a:ea typeface="+mn-ea"/>
                          <a:cs typeface="Times New Roman" panose="02020603050405020304" pitchFamily="18" charset="0"/>
                        </a:rPr>
                        <a:t> và Hoài Â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Công tác tiếp dân thực hiện đúng quy chế</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424456270"/>
      </p:ext>
    </p:extLst>
  </p:cSld>
  <p:clrMapOvr>
    <a:masterClrMapping/>
  </p:clrMapOvr>
  <p:transition spd="slow">
    <p:wip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34732" y="659060"/>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dirty="0" err="1">
                <a:solidFill>
                  <a:srgbClr val="100717"/>
                </a:solidFill>
                <a:latin typeface="Times New Roman" panose="02020603050405020304" pitchFamily="18" charset="0"/>
                <a:cs typeface="Times New Roman" panose="02020603050405020304" pitchFamily="18" charset="0"/>
              </a:rPr>
              <a:t>Quy</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hoạc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ỉnh</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758598978"/>
              </p:ext>
            </p:extLst>
          </p:nvPr>
        </p:nvGraphicFramePr>
        <p:xfrm>
          <a:off x="799853" y="1482485"/>
          <a:ext cx="10592293" cy="3261360"/>
        </p:xfrm>
        <a:graphic>
          <a:graphicData uri="http://schemas.openxmlformats.org/drawingml/2006/table">
            <a:tbl>
              <a:tblPr firstRow="1" bandRow="1"/>
              <a:tblGrid>
                <a:gridCol w="1059229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Thực hiện chỉ đạo của Lãnh đạo UBND tỉnh, Sở Kế hoạch và Đầu tư đã cùng với Tư vấn dự án làm việc với các sở, ban, ngành để rà soát, thống nhất nội dung báo cáo Quy hoạch tỉnh; đồng thời tiếp thu ý kiến góp ý của 22/25 Bộ, ngành và 14/14 tỉnh, thành phố lân cậ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Hiện nay Sở Kế hoạch và Đầu tư đã trình Hội đồng thẩm định quy hoạch tỉnh thời kỳ 2021-2030, tầm nhìn đến năm 2050 xem xét, thẩm định Quy hoạch tỉnh Bình Định thời kỳ 2021-2030, tầm nhìn đến năm 2050</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379701318"/>
      </p:ext>
    </p:extLst>
  </p:cSld>
  <p:clrMapOvr>
    <a:masterClrMapping/>
  </p:clrMapOvr>
  <p:transition spd="slow">
    <p:wip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67878111"/>
              </p:ext>
            </p:extLst>
          </p:nvPr>
        </p:nvGraphicFramePr>
        <p:xfrm>
          <a:off x="404230" y="799615"/>
          <a:ext cx="11383540" cy="5980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B1B170EA-ACEE-98CB-EB09-143E5BB6A3C8}"/>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TỒN TẠI, HẠN CHẾ: Bên cạnh kết quả đạt được còn một số tồn tại, hạn chế:</a:t>
            </a:r>
          </a:p>
        </p:txBody>
      </p:sp>
    </p:spTree>
    <p:extLst>
      <p:ext uri="{BB962C8B-B14F-4D97-AF65-F5344CB8AC3E}">
        <p14:creationId xmlns:p14="http://schemas.microsoft.com/office/powerpoint/2010/main" val="20160914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576257073"/>
              </p:ext>
            </p:extLst>
          </p:nvPr>
        </p:nvGraphicFramePr>
        <p:xfrm>
          <a:off x="326564" y="925175"/>
          <a:ext cx="11383540" cy="56538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79CE9985-9E32-695F-3871-1037CABA4789}"/>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TỒN TẠI, HẠN CHẾ</a:t>
            </a:r>
          </a:p>
        </p:txBody>
      </p:sp>
    </p:spTree>
    <p:extLst>
      <p:ext uri="{BB962C8B-B14F-4D97-AF65-F5344CB8AC3E}">
        <p14:creationId xmlns:p14="http://schemas.microsoft.com/office/powerpoint/2010/main" val="6396399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4154661103"/>
              </p:ext>
            </p:extLst>
          </p:nvPr>
        </p:nvGraphicFramePr>
        <p:xfrm>
          <a:off x="453006" y="1118122"/>
          <a:ext cx="11257098" cy="5460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06EEEA68-C4BB-4F90-2662-CE895507C43B}"/>
              </a:ext>
            </a:extLst>
          </p:cNvPr>
          <p:cNvSpPr txBox="1"/>
          <p:nvPr/>
        </p:nvSpPr>
        <p:spPr>
          <a:xfrm>
            <a:off x="613955" y="278962"/>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TỒN TẠI, HẠN CHẾ</a:t>
            </a:r>
          </a:p>
        </p:txBody>
      </p:sp>
    </p:spTree>
    <p:extLst>
      <p:ext uri="{BB962C8B-B14F-4D97-AF65-F5344CB8AC3E}">
        <p14:creationId xmlns:p14="http://schemas.microsoft.com/office/powerpoint/2010/main" val="13871421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124D21E-909E-1450-16D0-117CABF0D840}"/>
              </a:ext>
            </a:extLst>
          </p:cNvPr>
          <p:cNvSpPr txBox="1"/>
          <p:nvPr/>
        </p:nvSpPr>
        <p:spPr>
          <a:xfrm>
            <a:off x="295588" y="842705"/>
            <a:ext cx="11600823" cy="4862870"/>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3200" b="1" i="1">
                <a:latin typeface="Times New Roman" panose="02020603050405020304" pitchFamily="18" charset="0"/>
                <a:cs typeface="Times New Roman" panose="02020603050405020304" pitchFamily="18" charset="0"/>
              </a:rPr>
              <a:t>Nguyên nhân của những tồn tại, hạn chế nêu trên</a:t>
            </a:r>
            <a:r>
              <a:rPr lang="it-IT" sz="3200">
                <a:latin typeface="Times New Roman" panose="02020603050405020304" pitchFamily="18" charset="0"/>
                <a:cs typeface="Times New Roman" panose="02020603050405020304" pitchFamily="18" charset="0"/>
              </a:rPr>
              <a:t> là do </a:t>
            </a:r>
            <a:endParaRPr lang="vi-VN" sz="3200">
              <a:latin typeface="Times New Roman" panose="02020603050405020304" pitchFamily="18" charset="0"/>
              <a:cs typeface="Times New Roman" panose="02020603050405020304" pitchFamily="18" charset="0"/>
            </a:endParaRPr>
          </a:p>
          <a:p>
            <a:pPr lvl="1" indent="-457200" algn="just">
              <a:spcBef>
                <a:spcPts val="600"/>
              </a:spcBef>
              <a:buFont typeface="Wingdings" pitchFamily="2" charset="2"/>
              <a:buChar char="Ø"/>
              <a:defRPr/>
            </a:pPr>
            <a:endParaRPr lang="it-IT" sz="320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it-IT" sz="2400">
                <a:latin typeface="Times New Roman" panose="02020603050405020304" pitchFamily="18" charset="0"/>
                <a:cs typeface="Times New Roman" panose="02020603050405020304" pitchFamily="18" charset="0"/>
              </a:rPr>
              <a:t>Tình hình </a:t>
            </a:r>
            <a:r>
              <a:rPr lang="vi-VN" sz="2400">
                <a:latin typeface="Times New Roman" panose="02020603050405020304" pitchFamily="18" charset="0"/>
                <a:cs typeface="Times New Roman" panose="02020603050405020304" pitchFamily="18" charset="0"/>
              </a:rPr>
              <a:t>kinh tế thế giới còn nhiều khó khăn, một số quốc gia lớn có dấu hiệu suy thoái ảnh hưởng đến thương mại và sản xuất kinh doanh của các doanh nghiệp trong tỉnh</a:t>
            </a:r>
          </a:p>
          <a:p>
            <a:pPr marL="457200" indent="-457200">
              <a:spcBef>
                <a:spcPts val="600"/>
              </a:spcBef>
              <a:spcAft>
                <a:spcPts val="600"/>
              </a:spcAft>
              <a:buFont typeface="+mj-lt"/>
              <a:buAutoNum type="arabicPeriod"/>
            </a:pPr>
            <a:r>
              <a:rPr lang="vi-VN" sz="2400">
                <a:latin typeface="Times New Roman" panose="02020603050405020304" pitchFamily="18" charset="0"/>
                <a:cs typeface="Times New Roman" panose="02020603050405020304" pitchFamily="18" charset="0"/>
              </a:rPr>
              <a:t>Giá cả thức ăn gia súc tăng cao, nhưng chiều ngược lại giá sản phẩm chăn nuôi giảm</a:t>
            </a:r>
          </a:p>
          <a:p>
            <a:pPr marL="457200" indent="-457200">
              <a:spcBef>
                <a:spcPts val="600"/>
              </a:spcBef>
              <a:spcAft>
                <a:spcPts val="600"/>
              </a:spcAft>
              <a:buFont typeface="+mj-lt"/>
              <a:buAutoNum type="arabicPeriod"/>
            </a:pPr>
            <a:r>
              <a:rPr lang="vi-VN" sz="2400">
                <a:latin typeface="Times New Roman" panose="02020603050405020304" pitchFamily="18" charset="0"/>
                <a:cs typeface="Times New Roman" panose="02020603050405020304" pitchFamily="18" charset="0"/>
              </a:rPr>
              <a:t>Thị trường bất động sản trầm lắng</a:t>
            </a:r>
          </a:p>
          <a:p>
            <a:pPr marL="457200" indent="-457200">
              <a:spcBef>
                <a:spcPts val="600"/>
              </a:spcBef>
              <a:spcAft>
                <a:spcPts val="600"/>
              </a:spcAft>
              <a:buFont typeface="+mj-lt"/>
              <a:buAutoNum type="arabicPeriod"/>
            </a:pPr>
            <a:r>
              <a:rPr lang="vi-VN" sz="2400">
                <a:latin typeface="Times New Roman" panose="02020603050405020304" pitchFamily="18" charset="0"/>
                <a:cs typeface="Times New Roman" panose="02020603050405020304" pitchFamily="18" charset="0"/>
              </a:rPr>
              <a:t>Khó khăn về việc làm và thu nhập dẫn đến người tiêu dùng thắt chặt chi tiêu dẫn đến sức mua có xu hướng giảm so với cùng kỳ</a:t>
            </a:r>
          </a:p>
          <a:p>
            <a:pPr marL="457200" indent="-457200">
              <a:spcBef>
                <a:spcPts val="600"/>
              </a:spcBef>
              <a:spcAft>
                <a:spcPts val="600"/>
              </a:spcAft>
              <a:buFont typeface="+mj-lt"/>
              <a:buAutoNum type="arabicPeriod"/>
            </a:pPr>
            <a:r>
              <a:rPr lang="vi-VN" sz="2400">
                <a:latin typeface="Times New Roman" panose="02020603050405020304" pitchFamily="18" charset="0"/>
                <a:cs typeface="Times New Roman" panose="02020603050405020304" pitchFamily="18" charset="0"/>
              </a:rPr>
              <a:t>M</a:t>
            </a:r>
            <a:r>
              <a:rPr lang="it-IT" sz="2400">
                <a:latin typeface="Times New Roman" panose="02020603050405020304" pitchFamily="18" charset="0"/>
                <a:cs typeface="Times New Roman" panose="02020603050405020304" pitchFamily="18" charset="0"/>
              </a:rPr>
              <a:t>ột số </a:t>
            </a:r>
            <a:r>
              <a:rPr lang="vi-VN" sz="2400">
                <a:latin typeface="Times New Roman" panose="02020603050405020304" pitchFamily="18" charset="0"/>
                <a:cs typeface="Times New Roman" panose="02020603050405020304" pitchFamily="18" charset="0"/>
              </a:rPr>
              <a:t>cơ quan</a:t>
            </a:r>
            <a:r>
              <a:rPr lang="it-IT" sz="2400">
                <a:latin typeface="Times New Roman" panose="02020603050405020304" pitchFamily="18" charset="0"/>
                <a:cs typeface="Times New Roman" panose="02020603050405020304" pitchFamily="18" charset="0"/>
              </a:rPr>
              <a:t> và địa phương triển khai thực hiện nhiệm vụ được giao chưa đồng bộ, chặt chẽ; chỉ đạo xử lý một số vấn đề tồn tại chưa kịp thời, thiếu tập trung, kiên quyết</a:t>
            </a:r>
            <a:r>
              <a:rPr lang="it-IT" sz="2800">
                <a:latin typeface="Times New Roman" panose="02020603050405020304" pitchFamily="18" charset="0"/>
                <a:cs typeface="Times New Roman" panose="02020603050405020304" pitchFamily="18" charset="0"/>
              </a:rPr>
              <a:t>...</a:t>
            </a:r>
            <a:endParaRPr lang="it-IT" sz="5400" spc="-10">
              <a:solidFill>
                <a:prstClr val="black"/>
              </a:solidFill>
              <a:latin typeface="Times New Roman" pitchFamily="18" charset="0"/>
              <a:ea typeface="Times New Roman" panose="02020603050405020304" pitchFamily="18" charset="0"/>
              <a:cs typeface="Times New Roman" pitchFamily="18" charset="0"/>
            </a:endParaRPr>
          </a:p>
        </p:txBody>
      </p:sp>
      <p:sp>
        <p:nvSpPr>
          <p:cNvPr id="2" name="TextBox 1">
            <a:extLst>
              <a:ext uri="{FF2B5EF4-FFF2-40B4-BE49-F238E27FC236}">
                <a16:creationId xmlns:a16="http://schemas.microsoft.com/office/drawing/2014/main" id="{3C05F405-77A8-295C-5EC2-552D05A0E53C}"/>
              </a:ext>
            </a:extLst>
          </p:cNvPr>
          <p:cNvSpPr txBox="1"/>
          <p:nvPr/>
        </p:nvSpPr>
        <p:spPr>
          <a:xfrm>
            <a:off x="613955" y="278962"/>
            <a:ext cx="764920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TỒN TẠI, HẠN CHẾ</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6 THÁNG CUỐI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le 1">
            <a:extLst>
              <a:ext uri="{FF2B5EF4-FFF2-40B4-BE49-F238E27FC236}">
                <a16:creationId xmlns:a16="http://schemas.microsoft.com/office/drawing/2014/main" id="{E2060C7B-D80B-2D4B-6C50-1215E3EA3460}"/>
              </a:ext>
            </a:extLst>
          </p:cNvPr>
          <p:cNvSpPr txBox="1">
            <a:spLocks/>
          </p:cNvSpPr>
          <p:nvPr/>
        </p:nvSpPr>
        <p:spPr>
          <a:xfrm>
            <a:off x="473866" y="373973"/>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a:solidFill>
                  <a:srgbClr val="064273"/>
                </a:solidFill>
                <a:cs typeface="Arial" panose="020B0604020202020204" pitchFamily="34" charset="0"/>
              </a:rPr>
              <a:t>* </a:t>
            </a:r>
            <a:r>
              <a:rPr lang="vi-VN" sz="2800" b="1">
                <a:solidFill>
                  <a:srgbClr val="064273"/>
                </a:solidFill>
                <a:cs typeface="Arial" panose="020B0604020202020204" pitchFamily="34" charset="0"/>
              </a:rPr>
              <a:t>KỊCH BẢN TĂNG TRƯỞNG GRDP 6 THÁNG CUỐI NĂM 2023</a:t>
            </a:r>
            <a:endParaRPr lang="vi-VN" sz="2800" b="1" dirty="0">
              <a:solidFill>
                <a:srgbClr val="064273"/>
              </a:solidFill>
              <a:cs typeface="Arial" panose="020B0604020202020204" pitchFamily="34" charset="0"/>
            </a:endParaRPr>
          </a:p>
          <a:p>
            <a:pPr>
              <a:lnSpc>
                <a:spcPct val="100000"/>
              </a:lnSpc>
            </a:pPr>
            <a:endParaRPr lang="vi-VN" sz="2800" b="1" dirty="0">
              <a:solidFill>
                <a:srgbClr val="064273"/>
              </a:solidFil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B3AFD0A1-EC23-2CD8-C933-80EDD073EC21}"/>
              </a:ext>
            </a:extLst>
          </p:cNvPr>
          <p:cNvCxnSpPr>
            <a:cxnSpLocks/>
          </p:cNvCxnSpPr>
          <p:nvPr/>
        </p:nvCxnSpPr>
        <p:spPr>
          <a:xfrm>
            <a:off x="583129" y="852146"/>
            <a:ext cx="10289003" cy="20999"/>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a:extLst>
              <a:ext uri="{FF2B5EF4-FFF2-40B4-BE49-F238E27FC236}">
                <a16:creationId xmlns:a16="http://schemas.microsoft.com/office/drawing/2014/main" id="{065CBCFB-3E78-BDBA-FF71-FBF1174154DC}"/>
              </a:ext>
            </a:extLst>
          </p:cNvPr>
          <p:cNvGraphicFramePr>
            <a:graphicFrameLocks noChangeAspect="1"/>
          </p:cNvGraphicFramePr>
          <p:nvPr>
            <p:extLst>
              <p:ext uri="{D42A27DB-BD31-4B8C-83A1-F6EECF244321}">
                <p14:modId xmlns:p14="http://schemas.microsoft.com/office/powerpoint/2010/main" val="2969499303"/>
              </p:ext>
            </p:extLst>
          </p:nvPr>
        </p:nvGraphicFramePr>
        <p:xfrm>
          <a:off x="473075" y="3636963"/>
          <a:ext cx="11072931" cy="2727325"/>
        </p:xfrm>
        <a:graphic>
          <a:graphicData uri="http://schemas.openxmlformats.org/presentationml/2006/ole">
            <mc:AlternateContent xmlns:mc="http://schemas.openxmlformats.org/markup-compatibility/2006">
              <mc:Choice xmlns:v="urn:schemas-microsoft-com:vml" Requires="v">
                <p:oleObj name="Worksheet" r:id="rId3" imgW="8115232" imgH="2209676" progId="Excel.Sheet.12">
                  <p:embed/>
                </p:oleObj>
              </mc:Choice>
              <mc:Fallback>
                <p:oleObj name="Worksheet" r:id="rId3" imgW="8115232" imgH="2209676" progId="Excel.Sheet.12">
                  <p:embed/>
                  <p:pic>
                    <p:nvPicPr>
                      <p:cNvPr id="6" name="Object 5">
                        <a:extLst>
                          <a:ext uri="{FF2B5EF4-FFF2-40B4-BE49-F238E27FC236}">
                            <a16:creationId xmlns:a16="http://schemas.microsoft.com/office/drawing/2014/main" id="{065CBCFB-3E78-BDBA-FF71-FBF1174154DC}"/>
                          </a:ext>
                        </a:extLst>
                      </p:cNvPr>
                      <p:cNvPicPr/>
                      <p:nvPr/>
                    </p:nvPicPr>
                    <p:blipFill>
                      <a:blip r:embed="rId4"/>
                      <a:stretch>
                        <a:fillRect/>
                      </a:stretch>
                    </p:blipFill>
                    <p:spPr>
                      <a:xfrm>
                        <a:off x="473075" y="3636963"/>
                        <a:ext cx="11072931" cy="2727325"/>
                      </a:xfrm>
                      <a:prstGeom prst="rect">
                        <a:avLst/>
                      </a:prstGeom>
                    </p:spPr>
                  </p:pic>
                </p:oleObj>
              </mc:Fallback>
            </mc:AlternateContent>
          </a:graphicData>
        </a:graphic>
      </p:graphicFrame>
      <p:sp>
        <p:nvSpPr>
          <p:cNvPr id="2" name="Rectangle 1"/>
          <p:cNvSpPr/>
          <p:nvPr/>
        </p:nvSpPr>
        <p:spPr>
          <a:xfrm>
            <a:off x="583129" y="1138535"/>
            <a:ext cx="10846871" cy="2123658"/>
          </a:xfrm>
          <a:prstGeom prst="rect">
            <a:avLst/>
          </a:prstGeom>
        </p:spPr>
        <p:txBody>
          <a:bodyPr wrap="square">
            <a:spAutoFit/>
          </a:bodyPr>
          <a:lstStyle/>
          <a:p>
            <a:pPr algn="just"/>
            <a:r>
              <a:rPr lang="en-US" sz="2200" dirty="0" err="1">
                <a:solidFill>
                  <a:schemeClr val="dk1"/>
                </a:solidFill>
                <a:latin typeface="Times New Roman" panose="02020603050405020304" pitchFamily="18" charset="0"/>
                <a:cs typeface="Times New Roman" panose="02020603050405020304" pitchFamily="18" charset="0"/>
              </a:rPr>
              <a:t>Trong</a:t>
            </a:r>
            <a:r>
              <a:rPr lang="en-US" sz="2200" dirty="0">
                <a:solidFill>
                  <a:schemeClr val="dk1"/>
                </a:solidFill>
                <a:latin typeface="Times New Roman" panose="02020603050405020304" pitchFamily="18" charset="0"/>
                <a:cs typeface="Times New Roman" panose="02020603050405020304" pitchFamily="18" charset="0"/>
              </a:rPr>
              <a:t> 6 </a:t>
            </a:r>
            <a:r>
              <a:rPr lang="en-US" sz="2200" dirty="0" err="1">
                <a:solidFill>
                  <a:schemeClr val="dk1"/>
                </a:solidFill>
                <a:latin typeface="Times New Roman" panose="02020603050405020304" pitchFamily="18" charset="0"/>
                <a:cs typeface="Times New Roman" panose="02020603050405020304" pitchFamily="18" charset="0"/>
              </a:rPr>
              <a:t>thá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ầ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ăm</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ớ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ố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ộ</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ă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GRD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à</a:t>
            </a:r>
            <a:r>
              <a:rPr lang="en-US" sz="2200" dirty="0">
                <a:solidFill>
                  <a:schemeClr val="dk1"/>
                </a:solidFill>
                <a:latin typeface="Times New Roman" panose="02020603050405020304" pitchFamily="18" charset="0"/>
                <a:cs typeface="Times New Roman" panose="02020603050405020304" pitchFamily="18" charset="0"/>
              </a:rPr>
              <a:t>, 6,46%,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số</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sả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xuấ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ô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ghiệ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II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ăng</a:t>
            </a:r>
            <a:r>
              <a:rPr lang="en-US" sz="2200" dirty="0">
                <a:solidFill>
                  <a:schemeClr val="dk1"/>
                </a:solidFill>
                <a:latin typeface="Times New Roman" panose="02020603050405020304" pitchFamily="18" charset="0"/>
                <a:cs typeface="Times New Roman" panose="02020603050405020304" pitchFamily="18" charset="0"/>
              </a:rPr>
              <a:t> 0,08%, </a:t>
            </a:r>
            <a:r>
              <a:rPr lang="en-US" sz="2200" dirty="0" err="1">
                <a:solidFill>
                  <a:schemeClr val="dk1"/>
                </a:solidFill>
                <a:latin typeface="Times New Roman" panose="02020603050405020304" pitchFamily="18" charset="0"/>
                <a:cs typeface="Times New Roman" panose="02020603050405020304" pitchFamily="18" charset="0"/>
              </a:rPr>
              <a:t>xuấ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hẩ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giảm</a:t>
            </a:r>
            <a:r>
              <a:rPr lang="en-US" sz="2200" dirty="0">
                <a:solidFill>
                  <a:schemeClr val="dk1"/>
                </a:solidFill>
                <a:latin typeface="Times New Roman" panose="02020603050405020304" pitchFamily="18" charset="0"/>
                <a:cs typeface="Times New Roman" panose="02020603050405020304" pitchFamily="18" charset="0"/>
              </a:rPr>
              <a:t> 15,6% so </a:t>
            </a:r>
            <a:r>
              <a:rPr lang="en-US" sz="2200" dirty="0" err="1">
                <a:solidFill>
                  <a:schemeClr val="dk1"/>
                </a:solidFill>
                <a:latin typeface="Times New Roman" panose="02020603050405020304" pitchFamily="18" charset="0"/>
                <a:cs typeface="Times New Roman" panose="02020603050405020304" pitchFamily="18" charset="0"/>
              </a:rPr>
              <a:t>cù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ỳ</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gâ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sác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ạt</a:t>
            </a:r>
            <a:r>
              <a:rPr lang="en-US" sz="2200" dirty="0">
                <a:solidFill>
                  <a:schemeClr val="dk1"/>
                </a:solidFill>
                <a:latin typeface="Times New Roman" panose="02020603050405020304" pitchFamily="18" charset="0"/>
                <a:cs typeface="Times New Roman" panose="02020603050405020304" pitchFamily="18" charset="0"/>
              </a:rPr>
              <a:t> 41,9% </a:t>
            </a:r>
            <a:r>
              <a:rPr lang="en-US" sz="2200" dirty="0" err="1">
                <a:solidFill>
                  <a:schemeClr val="dk1"/>
                </a:solidFill>
                <a:latin typeface="Times New Roman" panose="02020603050405020304" pitchFamily="18" charset="0"/>
                <a:cs typeface="Times New Roman" panose="02020603050405020304" pitchFamily="18" charset="0"/>
              </a:rPr>
              <a:t>dự</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oá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ăm</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ì</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hiệm</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ụ</a:t>
            </a:r>
            <a:r>
              <a:rPr lang="en-US" sz="2200" dirty="0">
                <a:solidFill>
                  <a:schemeClr val="dk1"/>
                </a:solidFill>
                <a:latin typeface="Times New Roman" panose="02020603050405020304" pitchFamily="18" charset="0"/>
                <a:cs typeface="Times New Roman" panose="02020603050405020304" pitchFamily="18" charset="0"/>
              </a:rPr>
              <a:t> 6 </a:t>
            </a:r>
            <a:r>
              <a:rPr lang="en-US" sz="2200" dirty="0" err="1">
                <a:solidFill>
                  <a:schemeClr val="dk1"/>
                </a:solidFill>
                <a:latin typeface="Times New Roman" panose="02020603050405020304" pitchFamily="18" charset="0"/>
                <a:cs typeface="Times New Roman" panose="02020603050405020304" pitchFamily="18" charset="0"/>
              </a:rPr>
              <a:t>thá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ò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ạ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rấ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ặ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ề</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ể</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ạ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ược</a:t>
            </a:r>
            <a:r>
              <a:rPr lang="en-US" sz="2200" dirty="0">
                <a:solidFill>
                  <a:schemeClr val="dk1"/>
                </a:solidFill>
                <a:latin typeface="Times New Roman" panose="02020603050405020304" pitchFamily="18" charset="0"/>
                <a:cs typeface="Times New Roman" panose="02020603050405020304" pitchFamily="18" charset="0"/>
              </a:rPr>
              <a:t> </a:t>
            </a:r>
            <a:r>
              <a:rPr lang="en-US" sz="2200" err="1">
                <a:solidFill>
                  <a:schemeClr val="dk1"/>
                </a:solidFill>
                <a:latin typeface="Times New Roman" panose="02020603050405020304" pitchFamily="18" charset="0"/>
                <a:cs typeface="Times New Roman" panose="02020603050405020304" pitchFamily="18" charset="0"/>
              </a:rPr>
              <a:t>kế</a:t>
            </a:r>
            <a:r>
              <a:rPr lang="en-US" sz="2200">
                <a:solidFill>
                  <a:schemeClr val="dk1"/>
                </a:solidFill>
                <a:latin typeface="Times New Roman" panose="02020603050405020304" pitchFamily="18" charset="0"/>
                <a:cs typeface="Times New Roman" panose="02020603050405020304" pitchFamily="18" charset="0"/>
              </a:rPr>
              <a:t> hoạch tăng trưởng GRDP </a:t>
            </a:r>
            <a:r>
              <a:rPr lang="en-US" sz="2200" dirty="0" err="1">
                <a:solidFill>
                  <a:schemeClr val="dk1"/>
                </a:solidFill>
                <a:latin typeface="Times New Roman" panose="02020603050405020304" pitchFamily="18" charset="0"/>
                <a:cs typeface="Times New Roman" panose="02020603050405020304" pitchFamily="18" charset="0"/>
              </a:rPr>
              <a:t>đề</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ra</a:t>
            </a:r>
            <a:r>
              <a:rPr lang="en-US" sz="2200" dirty="0">
                <a:solidFill>
                  <a:schemeClr val="dk1"/>
                </a:solidFill>
                <a:latin typeface="Times New Roman" panose="02020603050405020304" pitchFamily="18" charset="0"/>
                <a:cs typeface="Times New Roman" panose="02020603050405020304" pitchFamily="18" charset="0"/>
              </a:rPr>
              <a:t> 7%-</a:t>
            </a:r>
            <a:r>
              <a:rPr lang="en-US" sz="2200">
                <a:solidFill>
                  <a:schemeClr val="dk1"/>
                </a:solidFill>
                <a:latin typeface="Times New Roman" panose="02020603050405020304" pitchFamily="18" charset="0"/>
                <a:cs typeface="Times New Roman" panose="02020603050405020304" pitchFamily="18" charset="0"/>
              </a:rPr>
              <a:t>7,5% và các chỉ tiêu khác. </a:t>
            </a:r>
            <a:r>
              <a:rPr lang="en-US" sz="2200" dirty="0" err="1">
                <a:solidFill>
                  <a:schemeClr val="dk1"/>
                </a:solidFill>
                <a:latin typeface="Times New Roman" panose="02020603050405020304" pitchFamily="18" charset="0"/>
                <a:cs typeface="Times New Roman" panose="02020603050405020304" pitchFamily="18" charset="0"/>
              </a:rPr>
              <a:t>C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gành</a:t>
            </a:r>
            <a:r>
              <a:rPr lang="en-US" sz="2200" dirty="0">
                <a:solidFill>
                  <a:schemeClr val="dk1"/>
                </a:solidFill>
                <a:latin typeface="Times New Roman" panose="02020603050405020304" pitchFamily="18" charset="0"/>
                <a:cs typeface="Times New Roman" panose="02020603050405020304" pitchFamily="18" charset="0"/>
              </a:rPr>
              <a:t> </a:t>
            </a:r>
            <a:r>
              <a:rPr lang="en-US" sz="2200" err="1">
                <a:solidFill>
                  <a:schemeClr val="dk1"/>
                </a:solidFill>
                <a:latin typeface="Times New Roman" panose="02020603050405020304" pitchFamily="18" charset="0"/>
                <a:cs typeface="Times New Roman" panose="02020603050405020304" pitchFamily="18" charset="0"/>
              </a:rPr>
              <a:t>phải</a:t>
            </a:r>
            <a:r>
              <a:rPr lang="en-US" sz="2200">
                <a:solidFill>
                  <a:schemeClr val="dk1"/>
                </a:solidFill>
                <a:latin typeface="Times New Roman" panose="02020603050405020304" pitchFamily="18" charset="0"/>
                <a:cs typeface="Times New Roman" panose="02020603050405020304" pitchFamily="18" charset="0"/>
              </a:rPr>
              <a:t> nỗ </a:t>
            </a:r>
            <a:r>
              <a:rPr lang="en-US" sz="2200" dirty="0" err="1">
                <a:solidFill>
                  <a:schemeClr val="dk1"/>
                </a:solidFill>
                <a:latin typeface="Times New Roman" panose="02020603050405020304" pitchFamily="18" charset="0"/>
                <a:cs typeface="Times New Roman" panose="02020603050405020304" pitchFamily="18" charset="0"/>
              </a:rPr>
              <a:t>lự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ượ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bậc</a:t>
            </a:r>
            <a:r>
              <a:rPr lang="en-US" sz="2200" dirty="0">
                <a:solidFill>
                  <a:schemeClr val="dk1"/>
                </a:solidFill>
                <a:latin typeface="Times New Roman" panose="02020603050405020304" pitchFamily="18" charset="0"/>
                <a:cs typeface="Times New Roman" panose="02020603050405020304" pitchFamily="18" charset="0"/>
              </a:rPr>
              <a:t> so </a:t>
            </a:r>
            <a:r>
              <a:rPr lang="en-US" sz="2200" dirty="0" err="1">
                <a:solidFill>
                  <a:schemeClr val="dk1"/>
                </a:solidFill>
                <a:latin typeface="Times New Roman" panose="02020603050405020304" pitchFamily="18" charset="0"/>
                <a:cs typeface="Times New Roman" panose="02020603050405020304" pitchFamily="18" charset="0"/>
              </a:rPr>
              <a:t>với</a:t>
            </a:r>
            <a:r>
              <a:rPr lang="en-US" sz="2200" dirty="0">
                <a:solidFill>
                  <a:schemeClr val="dk1"/>
                </a:solidFill>
                <a:latin typeface="Times New Roman" panose="02020603050405020304" pitchFamily="18" charset="0"/>
                <a:cs typeface="Times New Roman" panose="02020603050405020304" pitchFamily="18" charset="0"/>
              </a:rPr>
              <a:t> 6 </a:t>
            </a:r>
            <a:r>
              <a:rPr lang="en-US" sz="2200" dirty="0" err="1">
                <a:solidFill>
                  <a:schemeClr val="dk1"/>
                </a:solidFill>
                <a:latin typeface="Times New Roman" panose="02020603050405020304" pitchFamily="18" charset="0"/>
                <a:cs typeface="Times New Roman" panose="02020603050405020304" pitchFamily="18" charset="0"/>
              </a:rPr>
              <a:t>thá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ầu</a:t>
            </a:r>
            <a:r>
              <a:rPr lang="en-US" sz="2200" dirty="0">
                <a:solidFill>
                  <a:schemeClr val="dk1"/>
                </a:solidFill>
                <a:latin typeface="Times New Roman" panose="02020603050405020304" pitchFamily="18" charset="0"/>
                <a:cs typeface="Times New Roman" panose="02020603050405020304" pitchFamily="18" charset="0"/>
              </a:rPr>
              <a:t> </a:t>
            </a:r>
            <a:r>
              <a:rPr lang="en-US" sz="2200" err="1">
                <a:solidFill>
                  <a:schemeClr val="dk1"/>
                </a:solidFill>
                <a:latin typeface="Times New Roman" panose="02020603050405020304" pitchFamily="18" charset="0"/>
                <a:cs typeface="Times New Roman" panose="02020603050405020304" pitchFamily="18" charset="0"/>
              </a:rPr>
              <a:t>năm</a:t>
            </a:r>
            <a:r>
              <a:rPr lang="en-US" sz="2200">
                <a:solidFill>
                  <a:schemeClr val="dk1"/>
                </a:solidFill>
                <a:latin typeface="Times New Roman" panose="02020603050405020304" pitchFamily="18" charset="0"/>
                <a:cs typeface="Times New Roman" panose="02020603050405020304" pitchFamily="18" charset="0"/>
              </a:rPr>
              <a:t>. Trên cơ sở kết quả thực hiện 6 tháng đầu năm, Sở Kế hoạch và Đầu tư đã phối hợp với Cục Thống kê tỉnh dự kiến kịch bản 6 tháng cuối năm như sau:</a:t>
            </a:r>
            <a:endParaRPr lang="en-US" sz="2200" dirty="0"/>
          </a:p>
        </p:txBody>
      </p:sp>
    </p:spTree>
    <p:extLst>
      <p:ext uri="{BB962C8B-B14F-4D97-AF65-F5344CB8AC3E}">
        <p14:creationId xmlns:p14="http://schemas.microsoft.com/office/powerpoint/2010/main" val="7437907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999040438"/>
              </p:ext>
            </p:extLst>
          </p:nvPr>
        </p:nvGraphicFramePr>
        <p:xfrm>
          <a:off x="353486" y="227142"/>
          <a:ext cx="11735049"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descr="A picture containing grass, mammal, bovine, horse&#10;&#10;Description automatically generated">
            <a:extLst>
              <a:ext uri="{FF2B5EF4-FFF2-40B4-BE49-F238E27FC236}">
                <a16:creationId xmlns:a16="http://schemas.microsoft.com/office/drawing/2014/main" id="{D8881F75-B80E-6D38-9408-37BEA365B55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27904" y="1652631"/>
            <a:ext cx="3874070" cy="2642994"/>
          </a:xfrm>
          <a:prstGeom prst="rect">
            <a:avLst/>
          </a:prstGeom>
        </p:spPr>
      </p:pic>
      <p:sp>
        <p:nvSpPr>
          <p:cNvPr id="11" name="TextBox 10">
            <a:extLst>
              <a:ext uri="{FF2B5EF4-FFF2-40B4-BE49-F238E27FC236}">
                <a16:creationId xmlns:a16="http://schemas.microsoft.com/office/drawing/2014/main" id="{6220529F-F711-0C6B-EEFD-3905ECF34CAE}"/>
              </a:ext>
            </a:extLst>
          </p:cNvPr>
          <p:cNvSpPr txBox="1"/>
          <p:nvPr/>
        </p:nvSpPr>
        <p:spPr>
          <a:xfrm>
            <a:off x="353486" y="1248657"/>
            <a:ext cx="6803472" cy="5914440"/>
          </a:xfrm>
          <a:prstGeom prst="rect">
            <a:avLst/>
          </a:prstGeom>
          <a:noFill/>
        </p:spPr>
        <p:txBody>
          <a:bodyPr wrap="square" rtlCol="0">
            <a:spAutoFit/>
          </a:bodyPr>
          <a:lstStyle/>
          <a:p>
            <a:pPr marL="342900" indent="-342900" algn="just" defTabSz="1219170">
              <a:spcBef>
                <a:spcPts val="400"/>
              </a:spcBef>
              <a:spcAft>
                <a:spcPts val="400"/>
              </a:spcAft>
              <a:buFont typeface="Wingdings" panose="05000000000000000000" pitchFamily="2" charset="2"/>
              <a:buChar char="q"/>
              <a:defRPr/>
            </a:pPr>
            <a:r>
              <a:rPr lang="it-IT" spc="-10">
                <a:effectLst/>
                <a:latin typeface="Times New Roman" panose="02020603050405020304" pitchFamily="18" charset="0"/>
                <a:ea typeface="Times New Roman" panose="02020603050405020304" pitchFamily="18" charset="0"/>
              </a:rPr>
              <a:t>Tập trung chỉ đạo chăm sóc, thu hoạch lúa vụ Hè Thu; triển khai kế hoạch sản xuất vụ Mùa theo kế hoạch</a:t>
            </a:r>
            <a:endParaRPr lang="it-IT" spc="-10" dirty="0">
              <a:effectLst/>
              <a:latin typeface="Times New Roman" panose="02020603050405020304" pitchFamily="18" charset="0"/>
              <a:ea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pc="-10" dirty="0">
                <a:effectLst/>
                <a:latin typeface="Times New Roman" panose="02020603050405020304" pitchFamily="18" charset="0"/>
                <a:ea typeface="Times New Roman" panose="02020603050405020304" pitchFamily="18" charset="0"/>
              </a:rPr>
              <a:t>Tiếp tục </a:t>
            </a:r>
            <a:r>
              <a:rPr lang="en-US" dirty="0" err="1">
                <a:effectLst/>
                <a:latin typeface="Times New Roman" panose="02020603050405020304" pitchFamily="18" charset="0"/>
                <a:ea typeface="Times New Roman" panose="02020603050405020304" pitchFamily="18" charset="0"/>
              </a:rPr>
              <a:t>thực</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hiện</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chuyển</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đổi</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mạnh</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mẽ</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cơ</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cấu</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cây</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trồng</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vật</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nuôi</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năm</a:t>
            </a:r>
            <a:r>
              <a:rPr lang="en-US" dirty="0">
                <a:effectLst/>
                <a:latin typeface="Times New Roman" panose="02020603050405020304" pitchFamily="18" charset="0"/>
                <a:ea typeface="Times New Roman" panose="02020603050405020304" pitchFamily="18" charset="0"/>
              </a:rPr>
              <a:t> 2023 </a:t>
            </a:r>
            <a:r>
              <a:rPr lang="en-US" dirty="0" err="1">
                <a:effectLst/>
                <a:latin typeface="Times New Roman" panose="02020603050405020304" pitchFamily="18" charset="0"/>
                <a:ea typeface="Times New Roman" panose="02020603050405020304" pitchFamily="18" charset="0"/>
              </a:rPr>
              <a:t>và</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định</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hướng</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các</a:t>
            </a:r>
            <a:r>
              <a:rPr lang="en-US" dirty="0">
                <a:effectLst/>
                <a:latin typeface="Times New Roman" panose="02020603050405020304" pitchFamily="18" charset="0"/>
                <a:ea typeface="Times New Roman" panose="02020603050405020304" pitchFamily="18" charset="0"/>
              </a:rPr>
              <a:t> </a:t>
            </a:r>
            <a:r>
              <a:rPr lang="en-US" dirty="0" err="1">
                <a:effectLst/>
                <a:latin typeface="Times New Roman" panose="02020603050405020304" pitchFamily="18" charset="0"/>
                <a:ea typeface="Times New Roman" panose="02020603050405020304" pitchFamily="18" charset="0"/>
              </a:rPr>
              <a:t>năm</a:t>
            </a:r>
            <a:r>
              <a:rPr lang="en-US" dirty="0">
                <a:effectLst/>
                <a:latin typeface="Times New Roman" panose="02020603050405020304" pitchFamily="18" charset="0"/>
                <a:ea typeface="Times New Roman" panose="02020603050405020304" pitchFamily="18" charset="0"/>
              </a:rPr>
              <a:t> 2024, 2025</a:t>
            </a:r>
            <a:endParaRPr lang="vi-VN"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pc="-10">
                <a:effectLst/>
                <a:latin typeface="Times New Roman" panose="02020603050405020304" pitchFamily="18" charset="0"/>
                <a:ea typeface="Times New Roman" panose="02020603050405020304" pitchFamily="18" charset="0"/>
              </a:rPr>
              <a:t>Tăng cường công tác quản lý, giám sát công tác chăn nuôi, phòng chống dịch bệnh động vật</a:t>
            </a:r>
          </a:p>
          <a:p>
            <a:pPr marL="342900" indent="-342900" algn="just" defTabSz="1219170">
              <a:spcBef>
                <a:spcPts val="400"/>
              </a:spcBef>
              <a:spcAft>
                <a:spcPts val="400"/>
              </a:spcAft>
              <a:buFont typeface="Wingdings" panose="05000000000000000000" pitchFamily="2" charset="2"/>
              <a:buChar char="q"/>
              <a:defRPr/>
            </a:pPr>
            <a:r>
              <a:rPr lang="vi-VN" spc="-10">
                <a:latin typeface="Times New Roman" panose="02020603050405020304" pitchFamily="18" charset="0"/>
              </a:rPr>
              <a:t>Tiếp tục thực hiện công tác chăm sóc rừng trồng, sản xuất cây giống phục vụ trồng rừng niên vụ 2023. Chú trọng phát triển trồng rừng gỗ lớn, gắn chứng chỉ FSC để phục vụ xuất khẩu</a:t>
            </a:r>
          </a:p>
          <a:p>
            <a:pPr marL="342900" indent="-342900" algn="just" defTabSz="1219170">
              <a:spcBef>
                <a:spcPts val="400"/>
              </a:spcBef>
              <a:spcAft>
                <a:spcPts val="400"/>
              </a:spcAft>
              <a:buFont typeface="Wingdings" panose="05000000000000000000" pitchFamily="2" charset="2"/>
              <a:buChar char="q"/>
              <a:defRPr/>
            </a:pPr>
            <a:r>
              <a:rPr lang="vi-VN"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hắc phục tình trạng tàu cá vi phạm khai thác IUU</a:t>
            </a:r>
          </a:p>
          <a:p>
            <a:pPr marL="342900" indent="-342900" algn="just" defTabSz="1219170">
              <a:spcBef>
                <a:spcPts val="400"/>
              </a:spcBef>
              <a:spcAft>
                <a:spcPts val="400"/>
              </a:spcAft>
              <a:buFont typeface="Wingdings" panose="05000000000000000000" pitchFamily="2" charset="2"/>
              <a:buChar char="q"/>
              <a:defRPr/>
            </a:pPr>
            <a:r>
              <a:rPr lang="it-IT" spc="-10">
                <a:effectLst/>
                <a:latin typeface="Times New Roman" panose="02020603050405020304" pitchFamily="18" charset="0"/>
                <a:ea typeface="Times New Roman" panose="02020603050405020304" pitchFamily="18" charset="0"/>
              </a:rPr>
              <a:t>Đôn đốc, giám sát tiến độ thực hiện Chương trình MTQG xây dựng nông thôn mới theo kế hoạch, xây dựng hoàn thành các tiêu chí còn lại ở các xã đăng ký hoàn thành đạt chuẩn nông thôn mới, nông thôn mới nâng cao trong năm 2023 </a:t>
            </a:r>
            <a:endParaRPr lang="vi-VN"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pc="-10">
                <a:effectLst/>
                <a:latin typeface="Times New Roman" panose="02020603050405020304" pitchFamily="18" charset="0"/>
                <a:ea typeface="Times New Roman" panose="02020603050405020304" pitchFamily="18" charset="0"/>
              </a:rPr>
              <a:t>Triển khai xây dựng kế hoạch phòng chống bão lụt, tìm kiếm cứu nạn, giảm nhẹ thiên tai năm 2023</a:t>
            </a:r>
            <a:r>
              <a:rPr lang="nl-NL" spc="-10">
                <a:effectLst/>
                <a:latin typeface="Times New Roman" panose="02020603050405020304" pitchFamily="18" charset="0"/>
                <a:ea typeface="Times New Roman" panose="02020603050405020304" pitchFamily="18" charset="0"/>
              </a:rPr>
              <a:t> </a:t>
            </a:r>
            <a:endParaRPr lang="vi-VN" spc="-10">
              <a:effectLst/>
              <a:latin typeface="Times New Roman" panose="02020603050405020304" pitchFamily="18" charset="0"/>
              <a:ea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pc="-10">
                <a:effectLst/>
                <a:latin typeface="Times New Roman" panose="02020603050405020304" pitchFamily="18" charset="0"/>
                <a:ea typeface="Times New Roman" panose="02020603050405020304" pitchFamily="18" charset="0"/>
              </a:rPr>
              <a:t>Tăng cường công tác kiểm tra quản lý đất đai, tài nguyên môi trường</a:t>
            </a:r>
            <a:endParaRPr lang="vi-VN" spc="-10">
              <a:latin typeface="Times New Roman" panose="02020603050405020304" pitchFamily="18" charset="0"/>
              <a:ea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endParaRPr lang="vi-VN" sz="1900" spc="-10" dirty="0">
              <a:effectLst/>
              <a:latin typeface="Times New Roman" panose="02020603050405020304" pitchFamily="18" charset="0"/>
              <a:ea typeface="Times New Roman" panose="02020603050405020304" pitchFamily="18" charset="0"/>
            </a:endParaRPr>
          </a:p>
        </p:txBody>
      </p:sp>
      <p:pic>
        <p:nvPicPr>
          <p:cNvPr id="13" name="Picture 2">
            <a:extLst>
              <a:ext uri="{FF2B5EF4-FFF2-40B4-BE49-F238E27FC236}">
                <a16:creationId xmlns:a16="http://schemas.microsoft.com/office/drawing/2014/main" id="{3325BDF4-9E25-C704-2D1B-CCCA0C86B2F8}"/>
              </a:ext>
            </a:extLst>
          </p:cNvPr>
          <p:cNvPicPr>
            <a:picLocks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7727903" y="4473109"/>
            <a:ext cx="3874070" cy="2157749"/>
          </a:xfrm>
          <a:prstGeom prst="rect">
            <a:avLst/>
          </a:prstGeom>
          <a:blipFill>
            <a:blip r:embed="rId10"/>
            <a:tile tx="0" ty="0" sx="100000" sy="100000" flip="none" algn="tl"/>
          </a:blipFill>
        </p:spPr>
      </p:pic>
    </p:spTree>
    <p:extLst>
      <p:ext uri="{BB962C8B-B14F-4D97-AF65-F5344CB8AC3E}">
        <p14:creationId xmlns:p14="http://schemas.microsoft.com/office/powerpoint/2010/main" val="2171956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0409610"/>
              </p:ext>
            </p:extLst>
          </p:nvPr>
        </p:nvGraphicFramePr>
        <p:xfrm>
          <a:off x="584463" y="182769"/>
          <a:ext cx="7552858" cy="9610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a:extLst>
              <a:ext uri="{FF2B5EF4-FFF2-40B4-BE49-F238E27FC236}">
                <a16:creationId xmlns:a16="http://schemas.microsoft.com/office/drawing/2014/main" id="{8BA917FC-5F9B-C148-956E-1F8894C8762A}"/>
              </a:ext>
            </a:extLst>
          </p:cNvPr>
          <p:cNvSpPr txBox="1"/>
          <p:nvPr/>
        </p:nvSpPr>
        <p:spPr>
          <a:xfrm>
            <a:off x="584463" y="1524795"/>
            <a:ext cx="11336293" cy="461665"/>
          </a:xfrm>
          <a:prstGeom prst="rect">
            <a:avLst/>
          </a:prstGeom>
          <a:noFill/>
        </p:spPr>
        <p:txBody>
          <a:bodyPr wrap="square" rtlCol="0">
            <a:spAutoFit/>
          </a:bodyPr>
          <a:lstStyle/>
          <a:p>
            <a:pPr marL="457200" indent="-457200" algn="just">
              <a:spcBef>
                <a:spcPts val="600"/>
              </a:spcBef>
              <a:buFontTx/>
              <a:buChar char="-"/>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Dự kiến chỉ số sản xuất công nghiệp 6 tháng còn lại năm 2023 của ngành Công Thương</a:t>
            </a:r>
            <a:endPar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8" name="Picture 7" descr="A picture containing text, screenshot, font, line&#10;&#10;Description automatically generated">
            <a:extLst>
              <a:ext uri="{FF2B5EF4-FFF2-40B4-BE49-F238E27FC236}">
                <a16:creationId xmlns:a16="http://schemas.microsoft.com/office/drawing/2014/main" id="{3FAC6445-5105-E4C2-759A-3C778488EAD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7856" y="2384570"/>
            <a:ext cx="10446724" cy="1944149"/>
          </a:xfrm>
          <a:prstGeom prst="rect">
            <a:avLst/>
          </a:prstGeom>
        </p:spPr>
      </p:pic>
      <p:sp>
        <p:nvSpPr>
          <p:cNvPr id="9" name="TextBox 8">
            <a:extLst>
              <a:ext uri="{FF2B5EF4-FFF2-40B4-BE49-F238E27FC236}">
                <a16:creationId xmlns:a16="http://schemas.microsoft.com/office/drawing/2014/main" id="{F65198A7-A118-3199-D245-9517CFA4BF98}"/>
              </a:ext>
            </a:extLst>
          </p:cNvPr>
          <p:cNvSpPr txBox="1"/>
          <p:nvPr/>
        </p:nvSpPr>
        <p:spPr>
          <a:xfrm>
            <a:off x="584463" y="4806289"/>
            <a:ext cx="11336293" cy="907941"/>
          </a:xfrm>
          <a:prstGeom prst="rect">
            <a:avLst/>
          </a:prstGeom>
          <a:noFill/>
        </p:spPr>
        <p:txBody>
          <a:bodyPr wrap="square" rtlCol="0">
            <a:spAutoFit/>
          </a:bodyPr>
          <a:lstStyle/>
          <a:p>
            <a:pPr marL="457200" indent="-457200" algn="just">
              <a:spcBef>
                <a:spcPts val="600"/>
              </a:spcBef>
              <a:buFontTx/>
              <a:buChar char="-"/>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Phương án 01: Để IIP cả năm đạt </a:t>
            </a:r>
            <a:r>
              <a:rPr lang="en-US" sz="2400" b="1"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1,5 - 1,8% </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ì 6 tháng cuối năm cần đạt </a:t>
            </a:r>
            <a:r>
              <a:rPr lang="en-US" sz="2400" b="1"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3 – 3,5%</a:t>
            </a:r>
          </a:p>
          <a:p>
            <a:pPr marL="457200" indent="-457200" algn="just">
              <a:spcBef>
                <a:spcPts val="600"/>
              </a:spcBef>
              <a:buFontTx/>
              <a:buChar char="-"/>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Phương án 02: Để IIP cả năm đạt </a:t>
            </a:r>
            <a:r>
              <a:rPr lang="en-US" sz="2400" b="1"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1,8 - 2,0% </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ì 6 tháng cuối năm cần đạt </a:t>
            </a:r>
            <a:r>
              <a:rPr lang="en-US" sz="2400" b="1"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3,5 – 4%</a:t>
            </a:r>
            <a:endParaRPr lang="vi-VN" sz="2400" b="1"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C5CB5686-CC5E-0FCE-8C42-0C188F5995E9}"/>
              </a:ext>
            </a:extLst>
          </p:cNvPr>
          <p:cNvSpPr txBox="1"/>
          <p:nvPr/>
        </p:nvSpPr>
        <p:spPr>
          <a:xfrm>
            <a:off x="1323617" y="920889"/>
            <a:ext cx="266115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Tree>
    <p:extLst>
      <p:ext uri="{BB962C8B-B14F-4D97-AF65-F5344CB8AC3E}">
        <p14:creationId xmlns:p14="http://schemas.microsoft.com/office/powerpoint/2010/main" val="664381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1+#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DB4122-EC53-12DB-1589-C6E8678CCB1C}"/>
              </a:ext>
            </a:extLst>
          </p:cNvPr>
          <p:cNvSpPr/>
          <p:nvPr/>
        </p:nvSpPr>
        <p:spPr>
          <a:xfrm>
            <a:off x="8597363" y="1095095"/>
            <a:ext cx="3914742" cy="759182"/>
          </a:xfrm>
          <a:prstGeom prst="rect">
            <a:avLst/>
          </a:prstGeom>
        </p:spPr>
        <p:txBody>
          <a:bodyPr wrap="square">
            <a:spAutoFit/>
          </a:bodyPr>
          <a:lstStyle/>
          <a:p>
            <a:pPr marL="342900" indent="-342900" algn="just">
              <a:spcBef>
                <a:spcPts val="435"/>
              </a:spcBef>
              <a:buSzPct val="100000"/>
              <a:buFontTx/>
              <a:buChar char="-"/>
            </a:pPr>
            <a:r>
              <a:rPr lang="es-ES" sz="2000" b="1">
                <a:solidFill>
                  <a:schemeClr val="accent5">
                    <a:lumMod val="75000"/>
                  </a:schemeClr>
                </a:solidFill>
                <a:latin typeface="Times New Roman" panose="02020603050405020304" pitchFamily="18" charset="0"/>
                <a:cs typeface="Times New Roman" panose="02020603050405020304" pitchFamily="18" charset="0"/>
              </a:rPr>
              <a:t>Xếp </a:t>
            </a:r>
            <a:r>
              <a:rPr lang="es-ES" sz="2000" b="1" err="1">
                <a:solidFill>
                  <a:schemeClr val="accent5">
                    <a:lumMod val="75000"/>
                  </a:schemeClr>
                </a:solidFill>
                <a:latin typeface="Times New Roman" panose="02020603050405020304" pitchFamily="18" charset="0"/>
                <a:cs typeface="Times New Roman" panose="02020603050405020304" pitchFamily="18" charset="0"/>
              </a:rPr>
              <a:t>thứ</a:t>
            </a:r>
            <a:r>
              <a:rPr lang="es-ES" sz="2000" b="1">
                <a:solidFill>
                  <a:schemeClr val="accent5">
                    <a:lumMod val="75000"/>
                  </a:schemeClr>
                </a:solidFill>
                <a:latin typeface="Times New Roman" panose="02020603050405020304" pitchFamily="18" charset="0"/>
                <a:cs typeface="Times New Roman" panose="02020603050405020304" pitchFamily="18" charset="0"/>
              </a:rPr>
              <a:t> 9/14 </a:t>
            </a:r>
            <a:r>
              <a:rPr lang="es-ES" sz="2000" b="1" dirty="0" err="1">
                <a:solidFill>
                  <a:schemeClr val="accent5">
                    <a:lumMod val="75000"/>
                  </a:schemeClr>
                </a:solidFill>
                <a:latin typeface="Times New Roman" panose="02020603050405020304" pitchFamily="18" charset="0"/>
                <a:cs typeface="Times New Roman" panose="02020603050405020304" pitchFamily="18" charset="0"/>
              </a:rPr>
              <a:t>về</a:t>
            </a:r>
            <a:r>
              <a:rPr lang="es-ES" sz="2000" b="1" dirty="0">
                <a:solidFill>
                  <a:schemeClr val="accent5">
                    <a:lumMod val="75000"/>
                  </a:schemeClr>
                </a:solidFill>
                <a:latin typeface="Times New Roman" panose="02020603050405020304" pitchFamily="18" charset="0"/>
                <a:cs typeface="Times New Roman" panose="02020603050405020304" pitchFamily="18" charset="0"/>
              </a:rPr>
              <a:t> </a:t>
            </a:r>
            <a:r>
              <a:rPr lang="es-ES" sz="2000" b="1" dirty="0" err="1">
                <a:solidFill>
                  <a:schemeClr val="accent5">
                    <a:lumMod val="75000"/>
                  </a:schemeClr>
                </a:solidFill>
                <a:latin typeface="Times New Roman" panose="02020603050405020304" pitchFamily="18" charset="0"/>
                <a:cs typeface="Times New Roman" panose="02020603050405020304" pitchFamily="18" charset="0"/>
              </a:rPr>
              <a:t>tốc</a:t>
            </a:r>
            <a:r>
              <a:rPr lang="es-ES" sz="2000" b="1" dirty="0">
                <a:solidFill>
                  <a:schemeClr val="accent5">
                    <a:lumMod val="75000"/>
                  </a:schemeClr>
                </a:solidFill>
                <a:latin typeface="Times New Roman" panose="02020603050405020304" pitchFamily="18" charset="0"/>
                <a:cs typeface="Times New Roman" panose="02020603050405020304" pitchFamily="18" charset="0"/>
              </a:rPr>
              <a:t> </a:t>
            </a:r>
            <a:r>
              <a:rPr lang="es-ES" sz="2000" b="1" err="1">
                <a:solidFill>
                  <a:schemeClr val="accent5">
                    <a:lumMod val="75000"/>
                  </a:schemeClr>
                </a:solidFill>
                <a:latin typeface="Times New Roman" panose="02020603050405020304" pitchFamily="18" charset="0"/>
                <a:cs typeface="Times New Roman" panose="02020603050405020304" pitchFamily="18" charset="0"/>
              </a:rPr>
              <a:t>độ</a:t>
            </a:r>
            <a:r>
              <a:rPr lang="es-ES" sz="2000" b="1">
                <a:solidFill>
                  <a:schemeClr val="accent5">
                    <a:lumMod val="75000"/>
                  </a:schemeClr>
                </a:solidFill>
                <a:latin typeface="Times New Roman" panose="02020603050405020304" pitchFamily="18" charset="0"/>
                <a:cs typeface="Times New Roman" panose="02020603050405020304" pitchFamily="18" charset="0"/>
              </a:rPr>
              <a:t> tăng</a:t>
            </a:r>
          </a:p>
          <a:p>
            <a:pPr marL="342900" indent="-342900" algn="just">
              <a:spcBef>
                <a:spcPts val="435"/>
              </a:spcBef>
              <a:buSzPct val="100000"/>
              <a:buFontTx/>
              <a:buChar char="-"/>
            </a:pPr>
            <a:r>
              <a:rPr lang="es-ES" sz="2000" b="1">
                <a:solidFill>
                  <a:schemeClr val="accent5">
                    <a:lumMod val="75000"/>
                  </a:schemeClr>
                </a:solidFill>
                <a:latin typeface="Times New Roman" panose="02020603050405020304" pitchFamily="18" charset="0"/>
                <a:cs typeface="Times New Roman" panose="02020603050405020304" pitchFamily="18" charset="0"/>
              </a:rPr>
              <a:t>Xếp thứ 6/14 về quy mô</a:t>
            </a:r>
          </a:p>
        </p:txBody>
      </p:sp>
      <p:graphicFrame>
        <p:nvGraphicFramePr>
          <p:cNvPr id="3" name="Chart 2">
            <a:extLst>
              <a:ext uri="{FF2B5EF4-FFF2-40B4-BE49-F238E27FC236}">
                <a16:creationId xmlns:a16="http://schemas.microsoft.com/office/drawing/2014/main" id="{0636A76A-35B9-0329-EF8B-185DBFAD93AA}"/>
              </a:ext>
            </a:extLst>
          </p:cNvPr>
          <p:cNvGraphicFramePr>
            <a:graphicFrameLocks/>
          </p:cNvGraphicFramePr>
          <p:nvPr>
            <p:extLst>
              <p:ext uri="{D42A27DB-BD31-4B8C-83A1-F6EECF244321}">
                <p14:modId xmlns:p14="http://schemas.microsoft.com/office/powerpoint/2010/main" val="1633386530"/>
              </p:ext>
            </p:extLst>
          </p:nvPr>
        </p:nvGraphicFramePr>
        <p:xfrm>
          <a:off x="1038911" y="1737139"/>
          <a:ext cx="10114177" cy="5042555"/>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C2DB16E0-DBB0-564F-83B3-7B6656F447DF}"/>
              </a:ext>
            </a:extLst>
          </p:cNvPr>
          <p:cNvSpPr txBox="1"/>
          <p:nvPr/>
        </p:nvSpPr>
        <p:spPr>
          <a:xfrm>
            <a:off x="754120" y="238860"/>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So sánh Tốc độ tăng GRDP</a:t>
            </a:r>
          </a:p>
        </p:txBody>
      </p:sp>
      <p:sp>
        <p:nvSpPr>
          <p:cNvPr id="7" name="TextBox 6">
            <a:extLst>
              <a:ext uri="{FF2B5EF4-FFF2-40B4-BE49-F238E27FC236}">
                <a16:creationId xmlns:a16="http://schemas.microsoft.com/office/drawing/2014/main" id="{2ED23297-15CF-7AEC-0107-698F5A9FF895}"/>
              </a:ext>
            </a:extLst>
          </p:cNvPr>
          <p:cNvSpPr txBox="1"/>
          <p:nvPr/>
        </p:nvSpPr>
        <p:spPr>
          <a:xfrm>
            <a:off x="1125751" y="643689"/>
            <a:ext cx="8513199" cy="830997"/>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1) So với cả nước (hiện nay Tổng Cục Thống kê chưa công bố)</a:t>
            </a:r>
          </a:p>
          <a:p>
            <a:pPr>
              <a:lnSpc>
                <a:spcPct val="100000"/>
              </a:lnSpc>
            </a:pPr>
            <a:r>
              <a:rPr lang="vi-VN" sz="2400" b="1">
                <a:latin typeface="+mj-lt"/>
                <a:cs typeface="Arial" panose="020B0604020202020204" pitchFamily="34" charset="0"/>
              </a:rPr>
              <a:t>b2) So với Vùng Bắc Trung bộ và duyên hải Trung bộ</a:t>
            </a:r>
          </a:p>
        </p:txBody>
      </p:sp>
    </p:spTree>
    <p:extLst>
      <p:ext uri="{BB962C8B-B14F-4D97-AF65-F5344CB8AC3E}">
        <p14:creationId xmlns:p14="http://schemas.microsoft.com/office/powerpoint/2010/main" val="39914501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406973" y="146661"/>
          <a:ext cx="7818749" cy="12395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a:extLst>
              <a:ext uri="{FF2B5EF4-FFF2-40B4-BE49-F238E27FC236}">
                <a16:creationId xmlns:a16="http://schemas.microsoft.com/office/drawing/2014/main" id="{FEB40E86-96DD-7002-066A-784713A27A1C}"/>
              </a:ext>
            </a:extLst>
          </p:cNvPr>
          <p:cNvSpPr txBox="1">
            <a:spLocks/>
          </p:cNvSpPr>
          <p:nvPr/>
        </p:nvSpPr>
        <p:spPr>
          <a:xfrm>
            <a:off x="105010" y="1780928"/>
            <a:ext cx="4695664" cy="133533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indent="-457200">
              <a:lnSpc>
                <a:spcPct val="100000"/>
              </a:lnSpc>
              <a:buFont typeface="Wingdings" panose="05000000000000000000" pitchFamily="2" charset="2"/>
              <a:buChar char="v"/>
            </a:pPr>
            <a:r>
              <a:rPr lang="vi-VN" sz="2800" b="1" dirty="0">
                <a:solidFill>
                  <a:srgbClr val="6C0000"/>
                </a:solidFill>
                <a:cs typeface="Arial" panose="020B0604020202020204" pitchFamily="34" charset="0"/>
              </a:rPr>
              <a:t>0</a:t>
            </a:r>
            <a:r>
              <a:rPr lang="vi-VN" sz="2800" b="1">
                <a:solidFill>
                  <a:srgbClr val="6C0000"/>
                </a:solidFill>
                <a:cs typeface="Arial" panose="020B0604020202020204" pitchFamily="34" charset="0"/>
              </a:rPr>
              <a:t>7 </a:t>
            </a:r>
            <a:r>
              <a:rPr lang="vi-VN" sz="2800" b="1" dirty="0">
                <a:solidFill>
                  <a:srgbClr val="6C0000"/>
                </a:solidFill>
                <a:cs typeface="Arial" panose="020B0604020202020204" pitchFamily="34" charset="0"/>
              </a:rPr>
              <a:t>dự án sản xuất công </a:t>
            </a:r>
            <a:r>
              <a:rPr lang="vi-VN" sz="2800" b="1">
                <a:solidFill>
                  <a:srgbClr val="6C0000"/>
                </a:solidFill>
                <a:cs typeface="Arial" panose="020B0604020202020204" pitchFamily="34" charset="0"/>
              </a:rPr>
              <a:t>nghiệp trọng điểm dự </a:t>
            </a:r>
            <a:r>
              <a:rPr lang="vi-VN" sz="2800" b="1" dirty="0">
                <a:solidFill>
                  <a:srgbClr val="6C0000"/>
                </a:solidFill>
                <a:cs typeface="Arial" panose="020B0604020202020204" pitchFamily="34" charset="0"/>
              </a:rPr>
              <a:t>kiến đi vào hoạt </a:t>
            </a:r>
            <a:r>
              <a:rPr lang="vi-VN" sz="2800" b="1">
                <a:solidFill>
                  <a:srgbClr val="6C0000"/>
                </a:solidFill>
                <a:cs typeface="Arial" panose="020B0604020202020204" pitchFamily="34" charset="0"/>
              </a:rPr>
              <a:t>động 6 tháng cuối năm</a:t>
            </a:r>
            <a:endParaRPr lang="vi-VN" sz="2800" b="1" dirty="0">
              <a:solidFill>
                <a:srgbClr val="6C0000"/>
              </a:solidFill>
              <a:cs typeface="Arial" panose="020B0604020202020204" pitchFamily="34" charset="0"/>
            </a:endParaRPr>
          </a:p>
          <a:p>
            <a:pPr>
              <a:lnSpc>
                <a:spcPct val="100000"/>
              </a:lnSpc>
            </a:pPr>
            <a:endParaRPr lang="vi-VN" sz="2800" b="1" dirty="0">
              <a:solidFill>
                <a:srgbClr val="064273"/>
              </a:solidFill>
              <a:ea typeface="+mn-ea"/>
              <a:cs typeface="Arial" panose="020B0604020202020204" pitchFamily="34" charset="0"/>
            </a:endParaRPr>
          </a:p>
        </p:txBody>
      </p:sp>
      <p:pic>
        <p:nvPicPr>
          <p:cNvPr id="10" name="Picture 9" descr="A picture containing text, screenshot, number, font&#10;&#10;Description automatically generated">
            <a:extLst>
              <a:ext uri="{FF2B5EF4-FFF2-40B4-BE49-F238E27FC236}">
                <a16:creationId xmlns:a16="http://schemas.microsoft.com/office/drawing/2014/main" id="{661B3E83-2AE9-9ABD-8D8F-5FE28537B2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95664" y="1020125"/>
            <a:ext cx="7391326" cy="5611008"/>
          </a:xfrm>
          <a:prstGeom prst="rect">
            <a:avLst/>
          </a:prstGeom>
        </p:spPr>
      </p:pic>
    </p:spTree>
    <p:extLst>
      <p:ext uri="{BB962C8B-B14F-4D97-AF65-F5344CB8AC3E}">
        <p14:creationId xmlns:p14="http://schemas.microsoft.com/office/powerpoint/2010/main" val="67746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397732991"/>
              </p:ext>
            </p:extLst>
          </p:nvPr>
        </p:nvGraphicFramePr>
        <p:xfrm>
          <a:off x="297641" y="344052"/>
          <a:ext cx="7818749" cy="12395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524217" y="2060458"/>
            <a:ext cx="7365595" cy="4632037"/>
          </a:xfrm>
          <a:prstGeom prst="rect">
            <a:avLst/>
          </a:prstGeom>
          <a:noFill/>
        </p:spPr>
        <p:txBody>
          <a:bodyPr wrap="square" rtlCol="0">
            <a:spAutoFit/>
          </a:bodyPr>
          <a:lstStyle/>
          <a:p>
            <a:pPr marL="457200" indent="-457200" algn="just">
              <a:spcBef>
                <a:spcPts val="600"/>
              </a:spcBef>
              <a:buFont typeface="Wingdings" panose="05000000000000000000" pitchFamily="2" charset="2"/>
              <a:buChar char="Ø"/>
              <a:defRPr/>
            </a:pPr>
            <a:r>
              <a:rPr lang="en-US"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ạo điều kiện thuận lợi đảm bảo tiến độ cho 07 dự án trọng điểm (trên 100 tỷ đồng trở lên) đang triển khai sớm đi vào hoạt động động trong 6 tháng cuối năm 2023</a:t>
            </a:r>
          </a:p>
          <a:p>
            <a:pPr marL="457200" indent="-457200" algn="just">
              <a:spcBef>
                <a:spcPts val="600"/>
              </a:spcBef>
              <a:buFont typeface="Wingdings" panose="05000000000000000000" pitchFamily="2" charset="2"/>
              <a:buChar char="Ø"/>
              <a:defRPr/>
            </a:pPr>
            <a:r>
              <a:rPr lang="vi-VN"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Chủ động nắm bắt tình hình sản xuất kinh doanh của các doanh nghiệp; kịp thời hỗ trợ tháo gỡ khó khăn, vướng mắc DN doanh nghiệp SXKD hiệu quả.</a:t>
            </a:r>
            <a:r>
              <a:rPr lang="en-US"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Tập trung hỗ trợ để các dự án sản xuất công nghiệp đã có Quyết định chủ trương đầu tư của UBND tỉnh sớm triển khai thực hiện và đi vào hoạt động (</a:t>
            </a:r>
            <a:r>
              <a:rPr lang="en-US" sz="2000" spc="-10">
                <a:latin typeface="Times New Roman" panose="02020603050405020304" pitchFamily="18" charset="0"/>
                <a:ea typeface="Calibri" panose="020F0502020204030204" pitchFamily="34" charset="0"/>
                <a:cs typeface="Times New Roman" panose="02020603050405020304" pitchFamily="18" charset="0"/>
              </a:rPr>
              <a:t>dự án Nhà máy gạch, ngói Takao; Nhà máy sản xuất gạch ốp lát granite Kamado..)</a:t>
            </a:r>
            <a:endParaRPr lang="vi-VN" sz="2000" spc="-10">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đầu tư phát triển hạ tầng các khu, cụm công nghiệp, làng nghề</a:t>
            </a:r>
            <a:endParaRPr lang="vi-VN"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vi-VN"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Quảng bá, xúc tiến, thu hút đầu tư các doanh nghiệp mới; tạo điều kiện cho các doanh nghiệp đã đi vào hoạt động mở rộng sản xuất kinh doanh</a:t>
            </a:r>
            <a:endParaRPr lang="en-US" sz="20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C614A4FC-A06B-82E1-3CE3-3514AED42409}"/>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8116390" y="1200837"/>
            <a:ext cx="3673108" cy="2228163"/>
          </a:xfrm>
          <a:prstGeom prst="rect">
            <a:avLst/>
          </a:prstGeom>
          <a:noFill/>
        </p:spPr>
      </p:pic>
      <p:pic>
        <p:nvPicPr>
          <p:cNvPr id="4" name="Picture 2">
            <a:extLst>
              <a:ext uri="{FF2B5EF4-FFF2-40B4-BE49-F238E27FC236}">
                <a16:creationId xmlns:a16="http://schemas.microsoft.com/office/drawing/2014/main" id="{2439F62E-2244-A8A0-2D0A-1A7DDA127BB0}"/>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8116390" y="3843514"/>
            <a:ext cx="3673108" cy="2557286"/>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8BC3680-EACE-A4C5-16CE-71CB62F92331}"/>
              </a:ext>
            </a:extLst>
          </p:cNvPr>
          <p:cNvSpPr txBox="1"/>
          <p:nvPr/>
        </p:nvSpPr>
        <p:spPr>
          <a:xfrm>
            <a:off x="1222950" y="1360347"/>
            <a:ext cx="266115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Tree>
    <p:extLst>
      <p:ext uri="{BB962C8B-B14F-4D97-AF65-F5344CB8AC3E}">
        <p14:creationId xmlns:p14="http://schemas.microsoft.com/office/powerpoint/2010/main" val="39564572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155047071"/>
              </p:ext>
            </p:extLst>
          </p:nvPr>
        </p:nvGraphicFramePr>
        <p:xfrm>
          <a:off x="402502" y="188606"/>
          <a:ext cx="5499152" cy="12395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297641" y="1769801"/>
            <a:ext cx="7600595" cy="4708981"/>
          </a:xfrm>
          <a:prstGeom prst="rect">
            <a:avLst/>
          </a:prstGeom>
          <a:noFill/>
        </p:spPr>
        <p:txBody>
          <a:bodyPr wrap="square" rtlCol="0">
            <a:spAutoFit/>
          </a:bodyPr>
          <a:lstStyle/>
          <a:p>
            <a:pPr marL="457200" indent="-457200" algn="just">
              <a:spcBef>
                <a:spcPts val="1200"/>
              </a:spcBef>
              <a:spcAft>
                <a:spcPts val="1200"/>
              </a:spcAft>
              <a:buFont typeface="Wingdings" panose="05000000000000000000" pitchFamily="2" charset="2"/>
              <a:buChar char="Ø"/>
              <a:defRPr/>
            </a:pPr>
            <a:r>
              <a:rPr lang="vi-VN" sz="2000">
                <a:latin typeface="Times New Roman" panose="02020603050405020304" pitchFamily="18" charset="0"/>
                <a:cs typeface="Times New Roman" panose="02020603050405020304" pitchFamily="18" charset="0"/>
              </a:rPr>
              <a:t>Tập trung tháo gỡ vướng mắc cho các dự án bất động sản đã và đang triển khai để sớm hoàn thành, tạo nguồn cung cho thị trường.</a:t>
            </a:r>
          </a:p>
          <a:p>
            <a:pPr marL="457200" indent="-457200" algn="just">
              <a:spcBef>
                <a:spcPts val="1200"/>
              </a:spcBef>
              <a:spcAft>
                <a:spcPts val="1200"/>
              </a:spcAft>
              <a:buFont typeface="Wingdings" panose="05000000000000000000" pitchFamily="2" charset="2"/>
              <a:buChar char="Ø"/>
              <a:defRPr/>
            </a:pPr>
            <a:r>
              <a:rPr lang="vi-VN" sz="2000">
                <a:latin typeface="Times New Roman" panose="02020603050405020304" pitchFamily="18" charset="0"/>
                <a:cs typeface="Times New Roman" panose="02020603050405020304" pitchFamily="18" charset="0"/>
              </a:rPr>
              <a:t> Thúc đẩy thị trường bất động sản phát triển, chú trọng phát triển nhà ở xã hội, nhà ở công nhân, nhà ở phù hợp với thu nhập của người dân.</a:t>
            </a:r>
          </a:p>
          <a:p>
            <a:pPr marL="457200" indent="-457200" algn="just">
              <a:spcBef>
                <a:spcPts val="1200"/>
              </a:spcBef>
              <a:spcAft>
                <a:spcPts val="1200"/>
              </a:spcAft>
              <a:buFont typeface="Wingdings" panose="05000000000000000000" pitchFamily="2" charset="2"/>
              <a:buChar char="Ø"/>
              <a:defRPr/>
            </a:pPr>
            <a:r>
              <a:rPr lang="vi-VN" sz="2000">
                <a:latin typeface="Times New Roman" panose="02020603050405020304" pitchFamily="18" charset="0"/>
                <a:cs typeface="Times New Roman" panose="02020603050405020304" pitchFamily="18" charset="0"/>
              </a:rPr>
              <a:t>Thường xuyên theo dõi, giám sát có hiệu quả tình hình thị trường bất động sản để kịp thời có biện pháp, giải pháp phù hợp.</a:t>
            </a:r>
          </a:p>
          <a:p>
            <a:pPr marL="457200" indent="-457200" algn="just">
              <a:spcBef>
                <a:spcPts val="1200"/>
              </a:spcBef>
              <a:spcAft>
                <a:spcPts val="1200"/>
              </a:spcAft>
              <a:buFont typeface="Wingdings" panose="05000000000000000000" pitchFamily="2" charset="2"/>
              <a:buChar char="Ø"/>
              <a:defRPr/>
            </a:pPr>
            <a:r>
              <a:rPr lang="vi-VN" sz="2000">
                <a:latin typeface="Times New Roman" panose="02020603050405020304" pitchFamily="18" charset="0"/>
                <a:cs typeface="Times New Roman" panose="02020603050405020304" pitchFamily="18" charset="0"/>
              </a:rPr>
              <a:t>Dự kiến trong năm 2023, có 43 dự án trên địa bàn tỉnh đã và đang triển khai thi công xây dựng cũng như thực hiện các thủ tục cần thiết để khởi công xây dựng (13 dự án nhà ở xã hội, 08 nhà ở thương mại, 22 dự án khu đô thị, khu dân cư), với tổng mức đầu tư khoảng 62.459,82 tỷ đồng</a:t>
            </a:r>
            <a:endParaRPr lang="en-US" sz="2000">
              <a:latin typeface="Times New Roman" panose="02020603050405020304" pitchFamily="18" charset="0"/>
              <a:cs typeface="Times New Roman" panose="02020603050405020304" pitchFamily="18" charset="0"/>
            </a:endParaRPr>
          </a:p>
        </p:txBody>
      </p:sp>
      <p:pic>
        <p:nvPicPr>
          <p:cNvPr id="4" name="Picture 2">
            <a:extLst>
              <a:ext uri="{FF2B5EF4-FFF2-40B4-BE49-F238E27FC236}">
                <a16:creationId xmlns:a16="http://schemas.microsoft.com/office/drawing/2014/main" id="{2439F62E-2244-A8A0-2D0A-1A7DDA127BB0}"/>
              </a:ext>
            </a:extLst>
          </p:cNvPr>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8319282" y="3984770"/>
            <a:ext cx="3470216" cy="24160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34863" y="1081822"/>
            <a:ext cx="3559496" cy="268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973E96D9-4F91-4876-00F3-BF6AFE417E46}"/>
              </a:ext>
            </a:extLst>
          </p:cNvPr>
          <p:cNvSpPr txBox="1"/>
          <p:nvPr/>
        </p:nvSpPr>
        <p:spPr>
          <a:xfrm>
            <a:off x="1273284" y="1081822"/>
            <a:ext cx="266115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spTree>
    <p:extLst>
      <p:ext uri="{BB962C8B-B14F-4D97-AF65-F5344CB8AC3E}">
        <p14:creationId xmlns:p14="http://schemas.microsoft.com/office/powerpoint/2010/main" val="3055150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797169298"/>
              </p:ext>
            </p:extLst>
          </p:nvPr>
        </p:nvGraphicFramePr>
        <p:xfrm>
          <a:off x="733965" y="243282"/>
          <a:ext cx="8393257" cy="10173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305783" y="1498497"/>
            <a:ext cx="7974151" cy="4708981"/>
          </a:xfrm>
          <a:prstGeom prst="rect">
            <a:avLst/>
          </a:prstGeom>
          <a:noFill/>
        </p:spPr>
        <p:txBody>
          <a:bodyPr wrap="square" rtlCol="0">
            <a:spAutoFit/>
          </a:bodyPr>
          <a:lstStyle/>
          <a:p>
            <a:pPr marL="342900" indent="-342900" algn="just">
              <a:spcBef>
                <a:spcPts val="1200"/>
              </a:spcBef>
              <a:spcAft>
                <a:spcPts val="1200"/>
              </a:spcAft>
              <a:buFont typeface="Wingdings" panose="05000000000000000000" pitchFamily="2" charset="2"/>
              <a:buChar char="Ø"/>
            </a:pPr>
            <a:r>
              <a:rPr lang="vi-VN" sz="2000">
                <a:latin typeface="Times New Roman" panose="02020603050405020304" pitchFamily="18" charset="0"/>
                <a:cs typeface="Times New Roman" panose="02020603050405020304" pitchFamily="18" charset="0"/>
              </a:rPr>
              <a:t>Tập trung tháo gỡ khó khăn cho doanh nghiệp: khuyến khích doanh nghiệp sản xuất hàng xuất khẩu từ nguyên liệu sản xuất trong nước, hỗ trợ tiêu thụ sản phẩm, nhất là các sản phẩm nông sản</a:t>
            </a:r>
          </a:p>
          <a:p>
            <a:pPr marL="342900" indent="-342900" algn="just">
              <a:spcBef>
                <a:spcPts val="1200"/>
              </a:spcBef>
              <a:spcAft>
                <a:spcPts val="1200"/>
              </a:spcAft>
              <a:buFont typeface="Wingdings" panose="05000000000000000000" pitchFamily="2" charset="2"/>
              <a:buChar char="Ø"/>
            </a:pPr>
            <a:r>
              <a:rPr lang="vi-VN" sz="2000">
                <a:latin typeface="Times New Roman" panose="02020603050405020304" pitchFamily="18" charset="0"/>
                <a:cs typeface="Times New Roman" panose="02020603050405020304" pitchFamily="18" charset="0"/>
              </a:rPr>
              <a:t>Tiếp tục triển khai phương án hỗ trợ tiêu thụ nông sản trên địa bàn tỉnh</a:t>
            </a:r>
          </a:p>
          <a:p>
            <a:pPr marL="342900" indent="-342900" algn="just">
              <a:spcBef>
                <a:spcPts val="1200"/>
              </a:spcBef>
              <a:spcAft>
                <a:spcPts val="1200"/>
              </a:spcAft>
              <a:buFont typeface="Wingdings" panose="05000000000000000000" pitchFamily="2" charset="2"/>
              <a:buChar char="Ø"/>
            </a:pPr>
            <a:r>
              <a:rPr lang="vi-VN" sz="2000">
                <a:latin typeface="Times New Roman" panose="02020603050405020304" pitchFamily="18" charset="0"/>
                <a:cs typeface="Times New Roman" panose="02020603050405020304" pitchFamily="18" charset="0"/>
              </a:rPr>
              <a:t>Vận động doanh nghiệp tham gia vào các Cổng thông tin thương mại điện tử, duy trì việc hỗ trợ kinh phí cho các doanh nghiệp tham gia các hội chợ trong và ngoài nước nhằm quảng bá sản phẩm hàng hóa.</a:t>
            </a:r>
          </a:p>
          <a:p>
            <a:pPr marL="342900" indent="-342900" algn="just">
              <a:spcBef>
                <a:spcPts val="1200"/>
              </a:spcBef>
              <a:spcAft>
                <a:spcPts val="1200"/>
              </a:spcAft>
              <a:buFont typeface="Wingdings" panose="05000000000000000000" pitchFamily="2" charset="2"/>
              <a:buChar char="Ø"/>
            </a:pPr>
            <a:r>
              <a:rPr lang="vi-VN" sz="2000">
                <a:latin typeface="Times New Roman" panose="02020603050405020304" pitchFamily="18" charset="0"/>
                <a:cs typeface="Times New Roman" panose="02020603050405020304" pitchFamily="18" charset="0"/>
              </a:rPr>
              <a:t>Gắn kết hoạt động của các Hiệp hội ngành hàng, quảng bá hình ảnh doanh nghiệp Bình Định có cơ hội tiếp cận liên kết với doanh nghiệp và tìm kiếm thị trường xuất khẩu mới. Phối hợp cùng nhau giải quyết những vấn đề có liên quan đến quyền lợi, phát triển thị trường, giải quyết tranh chấp, các rào cản kỹ thuật</a:t>
            </a:r>
            <a:endParaRPr lang="vi-VN" sz="2000" spc="-10" dirty="0">
              <a:solidFill>
                <a:prstClr val="black"/>
              </a:solidFill>
              <a:latin typeface="+mj-lt"/>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C958310C-5BB2-EED8-57FB-52116A467C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456089" y="1116539"/>
            <a:ext cx="3584829" cy="2505617"/>
          </a:xfrm>
          <a:prstGeom prst="rect">
            <a:avLst/>
          </a:prstGeom>
        </p:spPr>
      </p:pic>
      <p:pic>
        <p:nvPicPr>
          <p:cNvPr id="10" name="Picture 9" descr="A large red shipping container&#10;&#10;Description automatically generated with low confidence">
            <a:extLst>
              <a:ext uri="{FF2B5EF4-FFF2-40B4-BE49-F238E27FC236}">
                <a16:creationId xmlns:a16="http://schemas.microsoft.com/office/drawing/2014/main" id="{A3342B6F-D41E-2656-9E93-78133F35EC1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56089" y="3887634"/>
            <a:ext cx="3584828" cy="2505617"/>
          </a:xfrm>
          <a:prstGeom prst="rect">
            <a:avLst/>
          </a:prstGeom>
        </p:spPr>
      </p:pic>
    </p:spTree>
    <p:extLst>
      <p:ext uri="{BB962C8B-B14F-4D97-AF65-F5344CB8AC3E}">
        <p14:creationId xmlns:p14="http://schemas.microsoft.com/office/powerpoint/2010/main" val="138429473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754623080"/>
              </p:ext>
            </p:extLst>
          </p:nvPr>
        </p:nvGraphicFramePr>
        <p:xfrm>
          <a:off x="685083" y="280156"/>
          <a:ext cx="7676628" cy="12500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370267" y="4472732"/>
            <a:ext cx="11673071" cy="3216265"/>
          </a:xfrm>
          <a:prstGeom prst="rect">
            <a:avLst/>
          </a:prstGeom>
          <a:noFill/>
        </p:spPr>
        <p:txBody>
          <a:bodyPr wrap="square" rtlCol="0">
            <a:spAutoFit/>
          </a:bodyPr>
          <a:lstStyle/>
          <a:p>
            <a:pPr marL="457200" indent="-457200" algn="just">
              <a:spcBef>
                <a:spcPts val="600"/>
              </a:spcBef>
              <a:buFont typeface="Wingdings" panose="05000000000000000000" pitchFamily="2" charset="2"/>
              <a:buChar char="Ø"/>
              <a:defRPr/>
            </a:pPr>
            <a:r>
              <a:rPr lang="it-IT"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a:t>
            </a:r>
            <a:r>
              <a:rPr lang="vi-VN"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it-IT"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a:t>
            </a:r>
            <a:r>
              <a:rPr lang="it-IT"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mạnh các hoạt động thương mại, xuất khẩu</a:t>
            </a:r>
          </a:p>
          <a:p>
            <a:pPr marL="457200" indent="-457200" algn="just">
              <a:spcBef>
                <a:spcPts val="600"/>
              </a:spcBef>
              <a:buFont typeface="Wingdings" panose="05000000000000000000" pitchFamily="2" charset="2"/>
              <a:buChar char="Ø"/>
              <a:defRPr/>
            </a:pP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ườ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xúc</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ươ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ại</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ô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qua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ứ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dụ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NT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à</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uyể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ổi</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số</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át</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riể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ươ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ại</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iệ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ử</a:t>
            </a:r>
            <a:endPar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ục</a:t>
            </a:r>
            <a:r>
              <a:rPr lang="en-US" sz="22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tuyên truyền, kêu gọi người Bình Định ưu tiên sử dụng hàng hóa sản xuất tại tỉnh</a:t>
            </a:r>
            <a:endParaRPr lang="vi-VN"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huyế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hích</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ỗ</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rợ</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át</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riể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a</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dạ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óa</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à</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â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ao</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ất</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lượ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oạt</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ộ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ác</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ành</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dịch</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ụ</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ài</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ính</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â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à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bưu</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ính</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iễ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ô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ư</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ấn</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hoa</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ọc</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2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hệ</a:t>
            </a:r>
            <a:r>
              <a:rPr lang="en-US"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a:t>
            </a:r>
          </a:p>
          <a:p>
            <a:pPr marL="457200" indent="-457200" algn="just">
              <a:spcBef>
                <a:spcPts val="600"/>
              </a:spcBef>
              <a:buFontTx/>
              <a:buChar char="-"/>
              <a:defRPr/>
            </a:pPr>
            <a:endParaRPr lang="vi-VN" sz="2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Tx/>
              <a:buChar char="-"/>
              <a:defRPr/>
            </a:pPr>
            <a:endPar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C958310C-5BB2-EED8-57FB-52116A467CD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72189" y="1530162"/>
            <a:ext cx="3812506" cy="2505617"/>
          </a:xfrm>
          <a:prstGeom prst="rect">
            <a:avLst/>
          </a:prstGeom>
        </p:spPr>
      </p:pic>
      <p:pic>
        <p:nvPicPr>
          <p:cNvPr id="10" name="Picture 9" descr="A large red shipping container&#10;&#10;Description automatically generated with low confidence">
            <a:extLst>
              <a:ext uri="{FF2B5EF4-FFF2-40B4-BE49-F238E27FC236}">
                <a16:creationId xmlns:a16="http://schemas.microsoft.com/office/drawing/2014/main" id="{A3342B6F-D41E-2656-9E93-78133F35EC1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99398" y="1530163"/>
            <a:ext cx="4389550" cy="2505617"/>
          </a:xfrm>
          <a:prstGeom prst="rect">
            <a:avLst/>
          </a:prstGeom>
        </p:spPr>
      </p:pic>
    </p:spTree>
    <p:extLst>
      <p:ext uri="{BB962C8B-B14F-4D97-AF65-F5344CB8AC3E}">
        <p14:creationId xmlns:p14="http://schemas.microsoft.com/office/powerpoint/2010/main" val="1168642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10;&#10;Description automatically generated">
            <a:extLst>
              <a:ext uri="{FF2B5EF4-FFF2-40B4-BE49-F238E27FC236}">
                <a16:creationId xmlns:a16="http://schemas.microsoft.com/office/drawing/2014/main" id="{21AAD2A0-0B67-A24D-5C29-05C0ABB8BA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4317" y="4240549"/>
            <a:ext cx="3350496" cy="2153619"/>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397635BC-4AA2-B44A-F88B-2E47489DA33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62427" y="1847979"/>
            <a:ext cx="3228016" cy="2280815"/>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6C3F29D3-A8DF-868D-2F9A-C55475DA40F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82195" y="1847978"/>
            <a:ext cx="3312618" cy="2280816"/>
          </a:xfrm>
          <a:prstGeom prst="rect">
            <a:avLst/>
          </a:prstGeom>
        </p:spPr>
      </p:pic>
      <p:sp>
        <p:nvSpPr>
          <p:cNvPr id="11" name="TextBox 10">
            <a:extLst>
              <a:ext uri="{FF2B5EF4-FFF2-40B4-BE49-F238E27FC236}">
                <a16:creationId xmlns:a16="http://schemas.microsoft.com/office/drawing/2014/main" id="{7E2CE505-A30B-BB03-1C76-24E8431A366B}"/>
              </a:ext>
            </a:extLst>
          </p:cNvPr>
          <p:cNvSpPr txBox="1"/>
          <p:nvPr/>
        </p:nvSpPr>
        <p:spPr>
          <a:xfrm>
            <a:off x="453006" y="1847978"/>
            <a:ext cx="4576840" cy="5119350"/>
          </a:xfrm>
          <a:prstGeom prst="rect">
            <a:avLst/>
          </a:prstGeom>
          <a:noFill/>
        </p:spPr>
        <p:txBody>
          <a:bodyPr wrap="square" rtlCol="0">
            <a:spAutoFit/>
          </a:bodyPr>
          <a:lstStyle/>
          <a:p>
            <a:pPr marL="342900" marR="0" lvl="0" indent="-342900" algn="just" defTabSz="1219170" rtl="0" eaLnBrk="1" fontAlgn="auto" latinLnBrk="0" hangingPunct="1">
              <a:lnSpc>
                <a:spcPct val="100000"/>
              </a:lnSpc>
              <a:spcBef>
                <a:spcPts val="400"/>
              </a:spcBef>
              <a:spcAft>
                <a:spcPts val="400"/>
              </a:spcAft>
              <a:buClrTx/>
              <a:buSzTx/>
              <a:buFont typeface="Wingdings" panose="05000000000000000000" pitchFamily="2" charset="2"/>
              <a:buChar char="Ø"/>
              <a:tabLst/>
              <a:defRPr/>
            </a:pPr>
            <a:r>
              <a:rPr lang="vi-VN" sz="2000">
                <a:effectLst/>
                <a:latin typeface="Times New Roman" panose="02020603050405020304" pitchFamily="18" charset="0"/>
                <a:ea typeface="Times New Roman" panose="02020603050405020304" pitchFamily="18" charset="0"/>
              </a:rPr>
              <a:t>Tăng cường tổ chức triển khai các</a:t>
            </a:r>
            <a:r>
              <a:rPr lang="vi-VN" sz="2000" spc="5">
                <a:effectLst/>
                <a:latin typeface="Times New Roman" panose="02020603050405020304" pitchFamily="18" charset="0"/>
                <a:ea typeface="Times New Roman" panose="02020603050405020304" pitchFamily="18" charset="0"/>
              </a:rPr>
              <a:t> </a:t>
            </a:r>
            <a:r>
              <a:rPr lang="vi-VN" sz="2000">
                <a:effectLst/>
                <a:latin typeface="Times New Roman" panose="02020603050405020304" pitchFamily="18" charset="0"/>
                <a:ea typeface="Times New Roman" panose="02020603050405020304" pitchFamily="18" charset="0"/>
              </a:rPr>
              <a:t>chương trình kích cầu du lịch, nhất là trong mùa cao điểm du lịch</a:t>
            </a:r>
            <a:r>
              <a:rPr lang="vi-VN" sz="2000" spc="350">
                <a:effectLst/>
                <a:latin typeface="Times New Roman" panose="02020603050405020304" pitchFamily="18" charset="0"/>
                <a:ea typeface="Times New Roman" panose="02020603050405020304" pitchFamily="18" charset="0"/>
              </a:rPr>
              <a:t> </a:t>
            </a:r>
            <a:r>
              <a:rPr lang="vi-VN" sz="2000">
                <a:effectLst/>
                <a:latin typeface="Times New Roman" panose="02020603050405020304" pitchFamily="18" charset="0"/>
                <a:ea typeface="Times New Roman" panose="02020603050405020304" pitchFamily="18" charset="0"/>
              </a:rPr>
              <a:t>Hè</a:t>
            </a:r>
          </a:p>
          <a:p>
            <a:pPr marL="342900" marR="0" lvl="0" indent="-342900" algn="just" defTabSz="1219170" rtl="0" eaLnBrk="1" fontAlgn="auto" latinLnBrk="0" hangingPunct="1">
              <a:lnSpc>
                <a:spcPct val="100000"/>
              </a:lnSpc>
              <a:spcBef>
                <a:spcPts val="400"/>
              </a:spcBef>
              <a:spcAft>
                <a:spcPts val="400"/>
              </a:spcAft>
              <a:buClrTx/>
              <a:buSzTx/>
              <a:buFont typeface="Wingdings" panose="05000000000000000000" pitchFamily="2" charset="2"/>
              <a:buChar char="Ø"/>
              <a:tabLst/>
              <a:defRPr/>
            </a:pPr>
            <a:r>
              <a:rPr lang="vi-VN" sz="2000">
                <a:effectLst/>
                <a:latin typeface="Times New Roman" panose="02020603050405020304" pitchFamily="18" charset="0"/>
                <a:ea typeface="Times New Roman" panose="02020603050405020304" pitchFamily="18" charset="0"/>
              </a:rPr>
              <a:t>Đa dạng hóa và nâng cao chất lượng các</a:t>
            </a:r>
            <a:r>
              <a:rPr lang="vi-VN" sz="2000" spc="5">
                <a:effectLst/>
                <a:latin typeface="Times New Roman" panose="02020603050405020304" pitchFamily="18" charset="0"/>
                <a:ea typeface="Times New Roman" panose="02020603050405020304" pitchFamily="18" charset="0"/>
              </a:rPr>
              <a:t> </a:t>
            </a:r>
            <a:r>
              <a:rPr lang="vi-VN" sz="2000">
                <a:effectLst/>
                <a:latin typeface="Times New Roman" panose="02020603050405020304" pitchFamily="18" charset="0"/>
                <a:ea typeface="Times New Roman" panose="02020603050405020304" pitchFamily="18" charset="0"/>
              </a:rPr>
              <a:t>sản phẩm du lịch, ưu tiên phát triển các sản phẩm du lịch có giá trị gia tăng cao</a:t>
            </a:r>
            <a:r>
              <a:rPr lang="vi-VN" sz="2000" spc="350">
                <a:effectLst/>
                <a:latin typeface="Times New Roman" panose="02020603050405020304" pitchFamily="18" charset="0"/>
                <a:ea typeface="Times New Roman" panose="02020603050405020304" pitchFamily="18" charset="0"/>
              </a:rPr>
              <a:t> </a:t>
            </a:r>
            <a:r>
              <a:rPr lang="vi-VN" sz="2000">
                <a:effectLst/>
                <a:latin typeface="Times New Roman" panose="02020603050405020304" pitchFamily="18" charset="0"/>
                <a:ea typeface="Times New Roman" panose="02020603050405020304" pitchFamily="18" charset="0"/>
              </a:rPr>
              <a:t>và</a:t>
            </a:r>
            <a:r>
              <a:rPr lang="vi-VN" sz="2000" spc="5">
                <a:effectLst/>
                <a:latin typeface="Times New Roman" panose="02020603050405020304" pitchFamily="18" charset="0"/>
                <a:ea typeface="Times New Roman" panose="02020603050405020304" pitchFamily="18" charset="0"/>
              </a:rPr>
              <a:t> </a:t>
            </a:r>
            <a:r>
              <a:rPr lang="vi-VN" sz="2000">
                <a:effectLst/>
                <a:latin typeface="Times New Roman" panose="02020603050405020304" pitchFamily="18" charset="0"/>
                <a:ea typeface="Times New Roman" panose="02020603050405020304" pitchFamily="18" charset="0"/>
              </a:rPr>
              <a:t>bền vững, tạo thương hiệu cạnh tranh lâu dài</a:t>
            </a:r>
            <a:endParaRPr lang="vi-VN" sz="2000" b="0" kern="1200">
              <a:solidFill>
                <a:schemeClr val="tx1"/>
              </a:solidFill>
              <a:latin typeface="Times New Roman" panose="02020603050405020304" pitchFamily="18" charset="0"/>
              <a:ea typeface="+mn-ea"/>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Ø"/>
              <a:defRPr/>
            </a:pPr>
            <a:r>
              <a:rPr lang="it-IT" sz="2000" spc="-10">
                <a:solidFill>
                  <a:prstClr val="black"/>
                </a:solidFill>
                <a:latin typeface="Times New Roman" panose="02020603050405020304" pitchFamily="18" charset="0"/>
                <a:cs typeface="Times New Roman" panose="02020603050405020304" pitchFamily="18" charset="0"/>
              </a:rPr>
              <a:t>Hợp tác phát triển về du lịch với các địa phương trong và ngoài nước, mở rộng các loại hình và sản phẩm du lịch</a:t>
            </a:r>
            <a:endParaRPr lang="vi-VN" sz="2000" spc="-10">
              <a:solidFill>
                <a:prstClr val="black"/>
              </a:solidFill>
              <a:latin typeface="Times New Roman" panose="02020603050405020304" pitchFamily="18"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Ø"/>
              <a:defRPr/>
            </a:pPr>
            <a:r>
              <a:rPr lang="vi-VN" sz="2000" spc="-10">
                <a:solidFill>
                  <a:prstClr val="black"/>
                </a:solidFill>
                <a:latin typeface="Times New Roman" panose="02020603050405020304" pitchFamily="18" charset="0"/>
                <a:cs typeface="Times New Roman" panose="02020603050405020304" pitchFamily="18" charset="0"/>
              </a:rPr>
              <a:t>Phấn đấu 6 tháng cuối năm thu hút trên 2,2 triệu lượt khách du lịch; doanh thu du lịch trên 8.790 tỷ đồng</a:t>
            </a:r>
          </a:p>
          <a:p>
            <a:pPr marR="0" lvl="0" algn="just" defTabSz="1219170" rtl="0" eaLnBrk="1" fontAlgn="auto" latinLnBrk="0" hangingPunct="1">
              <a:lnSpc>
                <a:spcPct val="100000"/>
              </a:lnSpc>
              <a:spcBef>
                <a:spcPts val="400"/>
              </a:spcBef>
              <a:spcAft>
                <a:spcPts val="400"/>
              </a:spcAft>
              <a:buClrTx/>
              <a:buSzTx/>
              <a:tabLst/>
              <a:defRPr/>
            </a:pPr>
            <a:endParaRPr lang="vi-VN" sz="2000" b="0" kern="1200">
              <a:solidFill>
                <a:schemeClr val="tx1"/>
              </a:solidFill>
              <a:latin typeface="Times New Roman" panose="02020603050405020304" pitchFamily="18" charset="0"/>
              <a:ea typeface="+mn-ea"/>
              <a:cs typeface="Times New Roman" panose="02020603050405020304" pitchFamily="18" charset="0"/>
            </a:endParaRPr>
          </a:p>
        </p:txBody>
      </p:sp>
      <p:grpSp>
        <p:nvGrpSpPr>
          <p:cNvPr id="15" name="Group 14">
            <a:extLst>
              <a:ext uri="{FF2B5EF4-FFF2-40B4-BE49-F238E27FC236}">
                <a16:creationId xmlns:a16="http://schemas.microsoft.com/office/drawing/2014/main" id="{DAA907E5-0624-2DAB-4677-B297B7F64B5A}"/>
              </a:ext>
            </a:extLst>
          </p:cNvPr>
          <p:cNvGrpSpPr/>
          <p:nvPr/>
        </p:nvGrpSpPr>
        <p:grpSpPr>
          <a:xfrm>
            <a:off x="761891" y="415464"/>
            <a:ext cx="875004" cy="1250007"/>
            <a:chOff x="1" y="-1"/>
            <a:chExt cx="875004" cy="1250007"/>
          </a:xfrm>
        </p:grpSpPr>
        <p:sp>
          <p:nvSpPr>
            <p:cNvPr id="19" name="Arrow: Chevron 18">
              <a:extLst>
                <a:ext uri="{FF2B5EF4-FFF2-40B4-BE49-F238E27FC236}">
                  <a16:creationId xmlns:a16="http://schemas.microsoft.com/office/drawing/2014/main" id="{3FDED6A1-342E-55BB-CE94-3BFF26066BD1}"/>
                </a:ext>
              </a:extLst>
            </p:cNvPr>
            <p:cNvSpPr/>
            <p:nvPr/>
          </p:nvSpPr>
          <p:spPr>
            <a:xfrm rot="5400000">
              <a:off x="-187501" y="187501"/>
              <a:ext cx="1250007" cy="875004"/>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Arrow: Chevron 4">
              <a:extLst>
                <a:ext uri="{FF2B5EF4-FFF2-40B4-BE49-F238E27FC236}">
                  <a16:creationId xmlns:a16="http://schemas.microsoft.com/office/drawing/2014/main" id="{062695BF-4AC3-5D41-2EEE-2301F79D7F41}"/>
                </a:ext>
              </a:extLst>
            </p:cNvPr>
            <p:cNvSpPr txBox="1"/>
            <p:nvPr/>
          </p:nvSpPr>
          <p:spPr>
            <a:xfrm>
              <a:off x="1" y="437501"/>
              <a:ext cx="875004" cy="3750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a:t>3</a:t>
              </a:r>
              <a:endParaRPr lang="en-US" sz="2400" kern="1200" dirty="0"/>
            </a:p>
          </p:txBody>
        </p:sp>
      </p:grpSp>
      <p:grpSp>
        <p:nvGrpSpPr>
          <p:cNvPr id="16" name="Group 15">
            <a:extLst>
              <a:ext uri="{FF2B5EF4-FFF2-40B4-BE49-F238E27FC236}">
                <a16:creationId xmlns:a16="http://schemas.microsoft.com/office/drawing/2014/main" id="{2280FA70-4461-06CD-B1F6-9B7852049A95}"/>
              </a:ext>
            </a:extLst>
          </p:cNvPr>
          <p:cNvGrpSpPr/>
          <p:nvPr/>
        </p:nvGrpSpPr>
        <p:grpSpPr>
          <a:xfrm>
            <a:off x="1660836" y="415466"/>
            <a:ext cx="6777681" cy="812504"/>
            <a:chOff x="898946" y="1"/>
            <a:chExt cx="6777681" cy="812504"/>
          </a:xfrm>
        </p:grpSpPr>
        <p:sp>
          <p:nvSpPr>
            <p:cNvPr id="17" name="Rectangle: Top Corners Rounded 16">
              <a:extLst>
                <a:ext uri="{FF2B5EF4-FFF2-40B4-BE49-F238E27FC236}">
                  <a16:creationId xmlns:a16="http://schemas.microsoft.com/office/drawing/2014/main" id="{BC7C5DFC-D429-0666-CB18-22B12EC473AB}"/>
                </a:ext>
              </a:extLst>
            </p:cNvPr>
            <p:cNvSpPr/>
            <p:nvPr/>
          </p:nvSpPr>
          <p:spPr>
            <a:xfrm rot="5400000">
              <a:off x="3881535" y="-2982588"/>
              <a:ext cx="812504" cy="6777681"/>
            </a:xfrm>
            <a:prstGeom prst="round2SameRect">
              <a:avLst/>
            </a:prstGeom>
            <a:solidFill>
              <a:schemeClr val="accent2">
                <a:lumMod val="20000"/>
                <a:lumOff val="80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8" name="Rectangle: Top Corners Rounded 6">
              <a:extLst>
                <a:ext uri="{FF2B5EF4-FFF2-40B4-BE49-F238E27FC236}">
                  <a16:creationId xmlns:a16="http://schemas.microsoft.com/office/drawing/2014/main" id="{4FCAD889-B09B-00B4-526B-C91BC90C309F}"/>
                </a:ext>
              </a:extLst>
            </p:cNvPr>
            <p:cNvSpPr txBox="1"/>
            <p:nvPr/>
          </p:nvSpPr>
          <p:spPr>
            <a:xfrm>
              <a:off x="898947" y="39663"/>
              <a:ext cx="6738018" cy="7331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56032" tIns="22860" rIns="22860" bIns="22860" numCol="1" spcCol="1270" anchor="ctr" anchorCtr="0">
              <a:noAutofit/>
            </a:bodyPr>
            <a:lstStyle/>
            <a:p>
              <a:pPr marL="285750" lvl="1" indent="-285750" algn="l" defTabSz="1600200">
                <a:lnSpc>
                  <a:spcPct val="90000"/>
                </a:lnSpc>
                <a:spcBef>
                  <a:spcPct val="0"/>
                </a:spcBef>
                <a:spcAft>
                  <a:spcPct val="15000"/>
                </a:spcAft>
                <a:buNone/>
              </a:pPr>
              <a:r>
                <a:rPr lang="vi-VN" sz="3600" b="1" kern="1200">
                  <a:latin typeface="Times New Roman" panose="02020603050405020304" pitchFamily="18" charset="0"/>
                  <a:cs typeface="Times New Roman" panose="02020603050405020304" pitchFamily="18" charset="0"/>
                </a:rPr>
                <a:t>Thương mại – dịch vụ - du lịch</a:t>
              </a:r>
              <a:endParaRPr lang="en-US" sz="3600" b="1" kern="1200" dirty="0">
                <a:latin typeface="Times New Roman" panose="02020603050405020304" pitchFamily="18" charset="0"/>
                <a:cs typeface="Times New Roman" panose="02020603050405020304" pitchFamily="18" charset="0"/>
              </a:endParaRPr>
            </a:p>
          </p:txBody>
        </p:sp>
      </p:grpSp>
      <p:pic>
        <p:nvPicPr>
          <p:cNvPr id="2" name="Picture 1" descr="A crowd of people in a stadium&#10;&#10;Description automatically generated with low confidence">
            <a:extLst>
              <a:ext uri="{FF2B5EF4-FFF2-40B4-BE49-F238E27FC236}">
                <a16:creationId xmlns:a16="http://schemas.microsoft.com/office/drawing/2014/main" id="{C80825AB-D68F-703E-276A-23A5BBC67D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2427" y="4240549"/>
            <a:ext cx="3226634" cy="2153619"/>
          </a:xfrm>
          <a:prstGeom prst="rect">
            <a:avLst/>
          </a:prstGeom>
        </p:spPr>
      </p:pic>
    </p:spTree>
    <p:extLst>
      <p:ext uri="{BB962C8B-B14F-4D97-AF65-F5344CB8AC3E}">
        <p14:creationId xmlns:p14="http://schemas.microsoft.com/office/powerpoint/2010/main" val="28351047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603637200"/>
              </p:ext>
            </p:extLst>
          </p:nvPr>
        </p:nvGraphicFramePr>
        <p:xfrm>
          <a:off x="435529" y="360034"/>
          <a:ext cx="5831048" cy="12475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435529" y="1825341"/>
            <a:ext cx="6469768" cy="4016484"/>
          </a:xfrm>
          <a:prstGeom prst="rect">
            <a:avLst/>
          </a:prstGeom>
          <a:noFill/>
        </p:spPr>
        <p:txBody>
          <a:bodyPr wrap="square" rtlCol="0">
            <a:spAutoFit/>
          </a:bodyPr>
          <a:lstStyle/>
          <a:p>
            <a:pPr marL="457200" indent="-457200" algn="just">
              <a:spcBef>
                <a:spcPts val="600"/>
              </a:spcBef>
              <a:buFont typeface="Wingdings" panose="05000000000000000000" pitchFamily="2" charset="2"/>
              <a:buChar char="Ø"/>
              <a:defRPr/>
            </a:pP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ườ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ác</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quản</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lý</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u</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ố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ất</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u</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giảm</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ợ</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ọ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uế</a:t>
            </a:r>
            <a:endPar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ục</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ỗ</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rợ</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doanh</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hiệp</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ược</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ưở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ối</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a</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ác</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ính</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sách</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ưu</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ãi</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ỗ</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rợ</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áo</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gỡ</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hó</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khan</a:t>
            </a:r>
          </a:p>
          <a:p>
            <a:pPr marL="457200" indent="-457200" algn="just">
              <a:spcBef>
                <a:spcPts val="600"/>
              </a:spcBef>
              <a:buFont typeface="Wingdings" panose="05000000000000000000" pitchFamily="2" charset="2"/>
              <a:buChar char="Ø"/>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công tác đấu giá quyền sử dụng đất, </a:t>
            </a:r>
            <a:r>
              <a:rPr lang="es-E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phấn đấu tổ chức đấu giá quyền sử dụng đất các quỹ đất đã có kế hoạch hoàn thành trước ngày 30/9/2023</a:t>
            </a:r>
            <a:endPar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bảo</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hi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ân</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sách</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eo</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úng</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êu</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uẩn</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ịnh</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ức</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t</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iệm</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iệu</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quả</a:t>
            </a:r>
            <a:endPar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Picture 3" descr="Diagram&#10;&#10;Description automatically generated">
            <a:extLst>
              <a:ext uri="{FF2B5EF4-FFF2-40B4-BE49-F238E27FC236}">
                <a16:creationId xmlns:a16="http://schemas.microsoft.com/office/drawing/2014/main" id="{F2017B93-348B-8282-C73E-71FE6A6AA0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73310" y="1245275"/>
            <a:ext cx="4638388" cy="2426726"/>
          </a:xfrm>
          <a:prstGeom prst="rect">
            <a:avLst/>
          </a:prstGeom>
        </p:spPr>
      </p:pic>
      <p:pic>
        <p:nvPicPr>
          <p:cNvPr id="10" name="Picture 9" descr="A picture containing sky, outdoor, building, government building&#10;&#10;Description automatically generated">
            <a:extLst>
              <a:ext uri="{FF2B5EF4-FFF2-40B4-BE49-F238E27FC236}">
                <a16:creationId xmlns:a16="http://schemas.microsoft.com/office/drawing/2014/main" id="{1741D10D-CE02-80ED-DD91-3CC4EA770F0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73309" y="3817524"/>
            <a:ext cx="4731647" cy="2912683"/>
          </a:xfrm>
          <a:prstGeom prst="rect">
            <a:avLst/>
          </a:prstGeom>
        </p:spPr>
      </p:pic>
    </p:spTree>
    <p:extLst>
      <p:ext uri="{BB962C8B-B14F-4D97-AF65-F5344CB8AC3E}">
        <p14:creationId xmlns:p14="http://schemas.microsoft.com/office/powerpoint/2010/main" val="21556076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96425996"/>
              </p:ext>
            </p:extLst>
          </p:nvPr>
        </p:nvGraphicFramePr>
        <p:xfrm>
          <a:off x="645253" y="469828"/>
          <a:ext cx="4908260" cy="1258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A49FA47D-1679-133E-0301-5CFB76FC4F8D}"/>
              </a:ext>
            </a:extLst>
          </p:cNvPr>
          <p:cNvSpPr txBox="1"/>
          <p:nvPr/>
        </p:nvSpPr>
        <p:spPr>
          <a:xfrm>
            <a:off x="645253" y="1848607"/>
            <a:ext cx="5677950" cy="3708708"/>
          </a:xfrm>
          <a:prstGeom prst="rect">
            <a:avLst/>
          </a:prstGeom>
          <a:noFill/>
        </p:spPr>
        <p:txBody>
          <a:bodyPr wrap="square" rtlCol="0">
            <a:spAutoFit/>
          </a:bodyPr>
          <a:lstStyle/>
          <a:p>
            <a:pPr marL="457200" indent="-457200" algn="just">
              <a:spcBef>
                <a:spcPts val="600"/>
              </a:spcBef>
              <a:buFont typeface="Wingdings" panose="05000000000000000000" pitchFamily="2" charset="2"/>
              <a:buChar char="Ø"/>
              <a:defRPr/>
            </a:pPr>
            <a:r>
              <a:rPr lang="it-IT"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Chương trình phục hồi và phát triển kinh tế - xã hội và 03 Chương trình mục tiêu quốc gia</a:t>
            </a:r>
          </a:p>
          <a:p>
            <a:pPr marL="457200" indent="-457200" algn="just">
              <a:spcBef>
                <a:spcPts val="600"/>
              </a:spcBef>
              <a:buFont typeface="Wingdings" panose="05000000000000000000" pitchFamily="2" charset="2"/>
              <a:buChar char="Ø"/>
              <a:defRPr/>
            </a:pPr>
            <a:r>
              <a:rPr lang="it-IT"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600"/>
              </a:spcBef>
              <a:buFont typeface="Wingdings" panose="05000000000000000000" pitchFamily="2" charset="2"/>
              <a:buChar char="Ø"/>
              <a:defRPr/>
            </a:pPr>
            <a:r>
              <a:rPr lang="it-IT"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điều hòa vốn đầu tư công từ chủ đầu tư chưa thực hiện được sang chủ đầu tư thực hiện có khối lượng hoàn thành nhưng thiếu vốn</a:t>
            </a:r>
            <a:endPar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Wingdings" panose="05000000000000000000" pitchFamily="2" charset="2"/>
              <a:buChar char="Ø"/>
              <a:defRPr/>
            </a:pP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oàn</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ành</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ác</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giải</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óng</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ặt</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bằng</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ường</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ao</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ốc</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Bắc</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 Nam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ía</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ông</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oạn</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qua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ịa</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bàn</a:t>
            </a:r>
            <a:r>
              <a:rPr lang="en-US"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0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ỉnh</a:t>
            </a:r>
            <a:endPar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4" name="Picture 3" descr="A group of people looking at a map&#10;&#10;Description automatically generated with medium confidence">
            <a:extLst>
              <a:ext uri="{FF2B5EF4-FFF2-40B4-BE49-F238E27FC236}">
                <a16:creationId xmlns:a16="http://schemas.microsoft.com/office/drawing/2014/main" id="{84DF1B28-4997-1752-EC03-6AF8F980F01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86353" y="4279361"/>
            <a:ext cx="3925122" cy="2207881"/>
          </a:xfrm>
          <a:prstGeom prst="rect">
            <a:avLst/>
          </a:prstGeom>
        </p:spPr>
      </p:pic>
      <p:pic>
        <p:nvPicPr>
          <p:cNvPr id="10" name="Picture 9" descr="A road next to a body of water&#10;&#10;Description automatically generated with low confidence">
            <a:extLst>
              <a:ext uri="{FF2B5EF4-FFF2-40B4-BE49-F238E27FC236}">
                <a16:creationId xmlns:a16="http://schemas.microsoft.com/office/drawing/2014/main" id="{A250707C-1F81-6C3D-6BD5-AF9188CA3D4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67827" y="1848607"/>
            <a:ext cx="3962174" cy="2207882"/>
          </a:xfrm>
          <a:prstGeom prst="rect">
            <a:avLst/>
          </a:prstGeom>
        </p:spPr>
      </p:pic>
    </p:spTree>
    <p:extLst>
      <p:ext uri="{BB962C8B-B14F-4D97-AF65-F5344CB8AC3E}">
        <p14:creationId xmlns:p14="http://schemas.microsoft.com/office/powerpoint/2010/main" val="2553187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49FA47D-1679-133E-0301-5CFB76FC4F8D}"/>
              </a:ext>
            </a:extLst>
          </p:cNvPr>
          <p:cNvSpPr txBox="1"/>
          <p:nvPr/>
        </p:nvSpPr>
        <p:spPr>
          <a:xfrm>
            <a:off x="338356" y="1295381"/>
            <a:ext cx="11783736" cy="5509200"/>
          </a:xfrm>
          <a:prstGeom prst="rect">
            <a:avLst/>
          </a:prstGeom>
          <a:noFill/>
        </p:spPr>
        <p:txBody>
          <a:bodyPr wrap="square" rtlCol="0">
            <a:spAutoFit/>
          </a:bodyPr>
          <a:lstStyle/>
          <a:p>
            <a:pPr marL="457200" indent="-457200" algn="just">
              <a:spcBef>
                <a:spcPts val="600"/>
              </a:spcBef>
              <a:buFont typeface="Wingdings" panose="05000000000000000000" pitchFamily="2" charset="2"/>
              <a:buChar char="Ø"/>
              <a:defRPr/>
            </a:pPr>
            <a:r>
              <a:rPr lang="it-IT"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đẩy mạnh hoạt động thu hút đầu tư trong và </a:t>
            </a:r>
            <a:r>
              <a:rPr lang="it-IT"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ngoài nước</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a:t>
            </a:r>
          </a:p>
          <a:p>
            <a:pPr marL="457200" indent="-457200" algn="just">
              <a:spcBef>
                <a:spcPts val="600"/>
              </a:spcBef>
              <a:buFont typeface="Wingdings" panose="05000000000000000000" pitchFamily="2" charset="2"/>
              <a:buChar char="Ø"/>
              <a:defRPr/>
            </a:pPr>
            <a:r>
              <a:rPr lang="en-US" sz="2400" spc="-10">
                <a:latin typeface="Times New Roman" panose="02020603050405020304" pitchFamily="18" charset="0"/>
              </a:rPr>
              <a:t> Vừa qua, UBND tỉnh đã </a:t>
            </a:r>
            <a:r>
              <a:rPr lang="vi-VN" sz="2400" spc="-10">
                <a:latin typeface="Times New Roman" panose="02020603050405020304" pitchFamily="18" charset="0"/>
              </a:rPr>
              <a:t>thống nhất quy trình hoạt động đường dây nóng để tư vấn, giải đáp những vướng mắc cho nhà đầu tư trên địa bàn tỉnh Bình Định. Trong thời gian tới, trường hợp phát sinh các vấn đề cần trao đổi, giải quyết, các Sở, ngành, địa phương có thể thông tin về Sở Kế hoạch và Đầu tư để kịp thời nắm bắt, giải quyền theo thẩm quyền hoặc tổng hợp, báo cáo xin ý kiến UBND tỉnh</a:t>
            </a:r>
            <a:endParaRPr lang="en-US" sz="2400" spc="-10">
              <a:latin typeface="Times New Roman" panose="02020603050405020304" pitchFamily="18" charset="0"/>
            </a:endParaRPr>
          </a:p>
          <a:p>
            <a:pPr marL="457200" indent="-457200" algn="just">
              <a:spcBef>
                <a:spcPts val="600"/>
              </a:spcBef>
              <a:buFont typeface="Wingdings" panose="05000000000000000000" pitchFamily="2" charset="2"/>
              <a:buChar char="Ø"/>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Hỗ </a:t>
            </a: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rợ nhà đầu tư sớm hoàn tất thủ tục, khởi </a:t>
            </a: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 </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xây dựng </a:t>
            </a: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các </a:t>
            </a: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dự án như: </a:t>
            </a:r>
          </a:p>
          <a:p>
            <a:pPr marL="457200" indent="457200" algn="just">
              <a:spcBef>
                <a:spcPts val="600"/>
              </a:spcBef>
              <a:buFont typeface="Arial" panose="020B0604020202020204" pitchFamily="34" charset="0"/>
              <a:buChar char="•"/>
              <a:defRPr/>
            </a:pP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Nhà máy chế biến gia cầm San Hà</a:t>
            </a:r>
          </a:p>
          <a:p>
            <a:pPr marL="457200" indent="457200" algn="just">
              <a:spcBef>
                <a:spcPts val="600"/>
              </a:spcBef>
              <a:buFont typeface="Arial" panose="020B0604020202020204" pitchFamily="34" charset="0"/>
              <a:buChar char="•"/>
              <a:defRPr/>
            </a:pP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Khu Nông nghiệp ứng dụng công nghệ cao phát triển tôm xã Mỹ Thành, huyện Phù Mỹ</a:t>
            </a:r>
          </a:p>
          <a:p>
            <a:pPr marL="457200" indent="457200" algn="just">
              <a:spcBef>
                <a:spcPts val="600"/>
              </a:spcBef>
              <a:buFont typeface="Arial" panose="020B0604020202020204" pitchFamily="34" charset="0"/>
              <a:buChar char="•"/>
              <a:defRPr/>
            </a:pP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huỗi Siêu thị Go</a:t>
            </a:r>
            <a:endPar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600"/>
              </a:spcBef>
              <a:buFont typeface="Arial" panose="020B0604020202020204" pitchFamily="34" charset="0"/>
              <a:buChar char="•"/>
              <a:defRPr/>
            </a:pP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hà</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n-US" sz="24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áy</a:t>
            </a:r>
            <a:r>
              <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may </a:t>
            </a:r>
            <a:r>
              <a:rPr lang="en-US" sz="2400" spc="-1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ỹ</a:t>
            </a: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hánh</a:t>
            </a:r>
          </a:p>
          <a:p>
            <a:pPr marL="457200" indent="457200" algn="just">
              <a:spcBef>
                <a:spcPts val="600"/>
              </a:spcBef>
              <a:buFont typeface="Arial" panose="020B0604020202020204" pitchFamily="34" charset="0"/>
              <a:buChar char="•"/>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Nhà máy gạch, ngói Takao</a:t>
            </a:r>
          </a:p>
          <a:p>
            <a:pPr marL="457200" indent="457200" algn="just">
              <a:spcBef>
                <a:spcPts val="600"/>
              </a:spcBef>
              <a:buFont typeface="Arial" panose="020B0604020202020204" pitchFamily="34" charset="0"/>
              <a:buChar char="•"/>
              <a:defRPr/>
            </a:pPr>
            <a:r>
              <a:rPr lang="en-US"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Nhà máy sản xuất gạch ốp lát granite Kamado</a:t>
            </a:r>
            <a:endParaRPr lang="en-US"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graphicFrame>
        <p:nvGraphicFramePr>
          <p:cNvPr id="13" name="Content Placeholder 5">
            <a:extLst>
              <a:ext uri="{FF2B5EF4-FFF2-40B4-BE49-F238E27FC236}">
                <a16:creationId xmlns:a16="http://schemas.microsoft.com/office/drawing/2014/main" id="{BA133DC1-3B7F-1EF5-AC03-623DAED491B9}"/>
              </a:ext>
            </a:extLst>
          </p:cNvPr>
          <p:cNvGraphicFramePr>
            <a:graphicFrameLocks/>
          </p:cNvGraphicFramePr>
          <p:nvPr>
            <p:extLst>
              <p:ext uri="{D42A27DB-BD31-4B8C-83A1-F6EECF244321}">
                <p14:modId xmlns:p14="http://schemas.microsoft.com/office/powerpoint/2010/main" val="3469587073"/>
              </p:ext>
            </p:extLst>
          </p:nvPr>
        </p:nvGraphicFramePr>
        <p:xfrm>
          <a:off x="914400" y="375615"/>
          <a:ext cx="5648937" cy="8816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631711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49FA47D-1679-133E-0301-5CFB76FC4F8D}"/>
              </a:ext>
            </a:extLst>
          </p:cNvPr>
          <p:cNvSpPr txBox="1"/>
          <p:nvPr/>
        </p:nvSpPr>
        <p:spPr>
          <a:xfrm>
            <a:off x="599549" y="1845826"/>
            <a:ext cx="10992901" cy="3616375"/>
          </a:xfrm>
          <a:prstGeom prst="rect">
            <a:avLst/>
          </a:prstGeom>
          <a:noFill/>
        </p:spPr>
        <p:txBody>
          <a:bodyPr wrap="square" rtlCol="0">
            <a:spAutoFit/>
          </a:bodyPr>
          <a:lstStyle/>
          <a:p>
            <a:pPr marL="457200" indent="-457200" algn="just">
              <a:spcBef>
                <a:spcPts val="600"/>
              </a:spcBef>
              <a:buFont typeface="Wingdings" pitchFamily="2" charset="2"/>
              <a:buChar char="Ø"/>
              <a:defRPr/>
            </a:pPr>
            <a:r>
              <a:rPr lang="vi-VN" sz="2800">
                <a:latin typeface="+mj-lt"/>
              </a:rPr>
              <a:t>Đẩy </a:t>
            </a:r>
            <a:r>
              <a:rPr lang="vi-VN" sz="2800" dirty="0">
                <a:latin typeface="+mj-lt"/>
              </a:rPr>
              <a:t>mạnh, tăng cường công tác xúc tiến đầu tư; đôn đốc triển khai các Dự án đã cấp và đang triển khai đầu tư; hỗ trợ, thúc đẩy triển khai KCN Becamex. Hoàn thành thủ tục đầu tư đối với: Khu vui chơi giải trí Night Paradise Nhơn Hội; Khu du lịch Eo Vượt 1 và 2; Khu Biệt thự nghỉ dưỡng học viện Golf; Các dự án hạt nhân vào các KCN. Phấn đấu đạt vốn thu hút 2.489 tỷ đồng.</a:t>
            </a:r>
            <a:endParaRPr lang="en-US" sz="2800" dirty="0">
              <a:latin typeface="+mj-lt"/>
            </a:endParaRPr>
          </a:p>
          <a:p>
            <a:pPr marL="457200" indent="-457200" algn="just">
              <a:spcBef>
                <a:spcPts val="600"/>
              </a:spcBef>
              <a:buFont typeface="Wingdings" pitchFamily="2" charset="2"/>
              <a:buChar char="Ø"/>
              <a:defRPr/>
            </a:pPr>
            <a:r>
              <a:rPr lang="vi-VN" sz="2800" dirty="0">
                <a:latin typeface="+mj-lt"/>
              </a:rPr>
              <a:t>Tiếp tục rà soát, kiểm tra tình hình triển khai đầu tư các dự án; đề xuất xử lý tồn tại thuộc KCN A, KCN C và Khu Phi thuế quan.</a:t>
            </a:r>
            <a:endParaRPr lang="en-US" sz="2800" spc="-10" dirty="0">
              <a:solidFill>
                <a:prstClr val="black"/>
              </a:solidFill>
              <a:latin typeface="+mj-lt"/>
              <a:ea typeface="Calibri" panose="020F0502020204030204" pitchFamily="34" charset="0"/>
              <a:cs typeface="Times New Roman" panose="02020603050405020304" pitchFamily="18" charset="0"/>
            </a:endParaRPr>
          </a:p>
        </p:txBody>
      </p:sp>
      <p:graphicFrame>
        <p:nvGraphicFramePr>
          <p:cNvPr id="13" name="Content Placeholder 5">
            <a:extLst>
              <a:ext uri="{FF2B5EF4-FFF2-40B4-BE49-F238E27FC236}">
                <a16:creationId xmlns:a16="http://schemas.microsoft.com/office/drawing/2014/main" id="{BA133DC1-3B7F-1EF5-AC03-623DAED491B9}"/>
              </a:ext>
            </a:extLst>
          </p:cNvPr>
          <p:cNvGraphicFramePr>
            <a:graphicFrameLocks/>
          </p:cNvGraphicFramePr>
          <p:nvPr>
            <p:extLst>
              <p:ext uri="{D42A27DB-BD31-4B8C-83A1-F6EECF244321}">
                <p14:modId xmlns:p14="http://schemas.microsoft.com/office/powerpoint/2010/main" val="1470224446"/>
              </p:ext>
            </p:extLst>
          </p:nvPr>
        </p:nvGraphicFramePr>
        <p:xfrm>
          <a:off x="508581" y="243971"/>
          <a:ext cx="11462509" cy="1231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93698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1B630313-B304-43FE-1F3A-BFDCCD81BBE4}"/>
              </a:ext>
            </a:extLst>
          </p:cNvPr>
          <p:cNvGraphicFramePr>
            <a:graphicFrameLocks/>
          </p:cNvGraphicFramePr>
          <p:nvPr>
            <p:extLst>
              <p:ext uri="{D42A27DB-BD31-4B8C-83A1-F6EECF244321}">
                <p14:modId xmlns:p14="http://schemas.microsoft.com/office/powerpoint/2010/main" val="3781850734"/>
              </p:ext>
            </p:extLst>
          </p:nvPr>
        </p:nvGraphicFramePr>
        <p:xfrm>
          <a:off x="1872343" y="1271586"/>
          <a:ext cx="8200448" cy="519017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D906555C-3604-49A9-3FD1-FFA453B732A1}"/>
              </a:ext>
            </a:extLst>
          </p:cNvPr>
          <p:cNvSpPr txBox="1"/>
          <p:nvPr/>
        </p:nvSpPr>
        <p:spPr>
          <a:xfrm>
            <a:off x="1148402" y="396240"/>
            <a:ext cx="76432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3) So với Vùng Kinh tế trọng điểm miền Trung</a:t>
            </a:r>
          </a:p>
        </p:txBody>
      </p:sp>
    </p:spTree>
    <p:extLst>
      <p:ext uri="{BB962C8B-B14F-4D97-AF65-F5344CB8AC3E}">
        <p14:creationId xmlns:p14="http://schemas.microsoft.com/office/powerpoint/2010/main" val="24678227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053759216"/>
              </p:ext>
            </p:extLst>
          </p:nvPr>
        </p:nvGraphicFramePr>
        <p:xfrm>
          <a:off x="353486" y="350628"/>
          <a:ext cx="11735049"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D73C606B-AAEF-247E-530A-5EAC9C46FF0B}"/>
              </a:ext>
            </a:extLst>
          </p:cNvPr>
          <p:cNvSpPr txBox="1"/>
          <p:nvPr/>
        </p:nvSpPr>
        <p:spPr>
          <a:xfrm>
            <a:off x="482940" y="1872163"/>
            <a:ext cx="11476140" cy="3113673"/>
          </a:xfrm>
          <a:prstGeom prst="rect">
            <a:avLst/>
          </a:prstGeom>
          <a:noFill/>
        </p:spPr>
        <p:txBody>
          <a:bodyPr wrap="square" rtlCol="0">
            <a:spAutoFit/>
          </a:bodyPr>
          <a:lstStyle/>
          <a:p>
            <a:pPr marL="342900" indent="-342900" algn="just" defTabSz="1219170">
              <a:lnSpc>
                <a:spcPct val="120000"/>
              </a:lnSpc>
              <a:spcBef>
                <a:spcPts val="400"/>
              </a:spcBef>
              <a:spcAft>
                <a:spcPts val="400"/>
              </a:spcAft>
              <a:buFont typeface="Wingdings" panose="05000000000000000000" pitchFamily="2" charset="2"/>
              <a:buChar char="q"/>
              <a:defRPr/>
            </a:pPr>
            <a:r>
              <a:rPr lang="vi-VN" sz="2000">
                <a:latin typeface="Times New Roman" panose="02020603050405020304" pitchFamily="18" charset="0"/>
              </a:rPr>
              <a:t>Ban hành Quy định quản lý chất thải rắn trên địa bàn tỉnh</a:t>
            </a:r>
          </a:p>
          <a:p>
            <a:pPr marL="342900" indent="-342900" algn="just" defTabSz="1219170">
              <a:lnSpc>
                <a:spcPct val="120000"/>
              </a:lnSpc>
              <a:spcBef>
                <a:spcPts val="400"/>
              </a:spcBef>
              <a:spcAft>
                <a:spcPts val="400"/>
              </a:spcAft>
              <a:buFont typeface="Wingdings" panose="05000000000000000000" pitchFamily="2" charset="2"/>
              <a:buChar char="q"/>
              <a:defRPr/>
            </a:pPr>
            <a:r>
              <a:rPr lang="vi-VN" sz="2000">
                <a:latin typeface="Times New Roman" panose="02020603050405020304" pitchFamily="18" charset="0"/>
              </a:rPr>
              <a:t>Ban hành Quy chế tiếp nhận, xử lý thông tin phản ánh đường dây nóng về ô nhiễm môi trường của tỉnh.</a:t>
            </a:r>
          </a:p>
          <a:p>
            <a:pPr marL="342900" indent="-342900" algn="just" defTabSz="1219170">
              <a:lnSpc>
                <a:spcPct val="120000"/>
              </a:lnSpc>
              <a:spcBef>
                <a:spcPts val="400"/>
              </a:spcBef>
              <a:spcAft>
                <a:spcPts val="400"/>
              </a:spcAft>
              <a:buFont typeface="Wingdings" panose="05000000000000000000" pitchFamily="2" charset="2"/>
              <a:buChar char="q"/>
              <a:defRPr/>
            </a:pPr>
            <a:r>
              <a:rPr lang="vi-VN" sz="2000">
                <a:latin typeface="Times New Roman" panose="02020603050405020304" pitchFamily="18" charset="0"/>
              </a:rPr>
              <a:t>Tiến hành kiểm tra, kiểm soát ô nhiễm môi trường đối với các cơ sở sản xuất kinh doanh trên địa bàn tỉnh.</a:t>
            </a:r>
          </a:p>
          <a:p>
            <a:pPr marL="342900" indent="-342900" algn="just" defTabSz="1219170">
              <a:lnSpc>
                <a:spcPct val="120000"/>
              </a:lnSpc>
              <a:spcBef>
                <a:spcPts val="400"/>
              </a:spcBef>
              <a:spcAft>
                <a:spcPts val="400"/>
              </a:spcAft>
              <a:buFont typeface="Wingdings" panose="05000000000000000000" pitchFamily="2" charset="2"/>
              <a:buChar char="q"/>
              <a:defRPr/>
            </a:pPr>
            <a:r>
              <a:rPr lang="pt-BR" sz="2000">
                <a:latin typeface="Times New Roman" panose="02020603050405020304" pitchFamily="18" charset="0"/>
              </a:rPr>
              <a:t>Triển khai mô hình phân loại rác tại nguồn tại huyện Tây Sơn.</a:t>
            </a:r>
            <a:endParaRPr lang="vi-VN" sz="2000">
              <a:latin typeface="Times New Roman" panose="02020603050405020304" pitchFamily="18" charset="0"/>
            </a:endParaRPr>
          </a:p>
          <a:p>
            <a:pPr marL="342900" indent="-342900" algn="just" defTabSz="1219170">
              <a:lnSpc>
                <a:spcPct val="120000"/>
              </a:lnSpc>
              <a:spcBef>
                <a:spcPts val="400"/>
              </a:spcBef>
              <a:spcAft>
                <a:spcPts val="400"/>
              </a:spcAft>
              <a:buFont typeface="Wingdings" panose="05000000000000000000" pitchFamily="2" charset="2"/>
              <a:buChar char="q"/>
              <a:defRPr/>
            </a:pPr>
            <a:r>
              <a:rPr lang="en-US" sz="2000">
                <a:latin typeface="Times New Roman" panose="02020603050405020304" pitchFamily="18" charset="0"/>
              </a:rPr>
              <a:t>Tiếp tục t</a:t>
            </a:r>
            <a:r>
              <a:rPr lang="vi-VN" sz="2000">
                <a:latin typeface="Times New Roman" panose="02020603050405020304" pitchFamily="18" charset="0"/>
              </a:rPr>
              <a:t>riển khai hoạt động Tổ công tác kiểm tra, giám sát việc thu gom, vận chuyển, xử lý chất thải rắn sinh hoạt trên địa bàn tỉnh; </a:t>
            </a:r>
            <a:r>
              <a:rPr lang="en-US" sz="2000">
                <a:latin typeface="Times New Roman" panose="02020603050405020304" pitchFamily="18" charset="0"/>
              </a:rPr>
              <a:t>h</a:t>
            </a:r>
            <a:r>
              <a:rPr lang="vi-VN" sz="2000">
                <a:latin typeface="Times New Roman" panose="02020603050405020304" pitchFamily="18" charset="0"/>
              </a:rPr>
              <a:t>ướng dẫn kinh phí chi cho hoạt động quản lý chất thải rắn sinh hoạt năm 2023.</a:t>
            </a:r>
          </a:p>
          <a:p>
            <a:pPr marL="342900" indent="-342900" algn="just" defTabSz="1219170">
              <a:spcBef>
                <a:spcPts val="400"/>
              </a:spcBef>
              <a:spcAft>
                <a:spcPts val="400"/>
              </a:spcAft>
              <a:buFont typeface="Wingdings" panose="05000000000000000000" pitchFamily="2" charset="2"/>
              <a:buChar char="q"/>
              <a:defRPr/>
            </a:pPr>
            <a:endParaRPr lang="vi-VN" sz="1900" spc="-10" dirty="0">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123020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2344264455"/>
              </p:ext>
            </p:extLst>
          </p:nvPr>
        </p:nvGraphicFramePr>
        <p:xfrm>
          <a:off x="465928" y="370106"/>
          <a:ext cx="4760414" cy="118184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DB6E28D-C7E5-F28E-275C-C22F56FB6ECD}"/>
              </a:ext>
            </a:extLst>
          </p:cNvPr>
          <p:cNvSpPr txBox="1"/>
          <p:nvPr/>
        </p:nvSpPr>
        <p:spPr>
          <a:xfrm>
            <a:off x="5554640" y="1701698"/>
            <a:ext cx="6291594" cy="4585871"/>
          </a:xfrm>
          <a:prstGeom prst="rect">
            <a:avLst/>
          </a:prstGeom>
          <a:noFill/>
        </p:spPr>
        <p:txBody>
          <a:bodyPr wrap="square" rtlCol="0">
            <a:spAutoFit/>
          </a:bodyPr>
          <a:lstStyle/>
          <a:p>
            <a:pPr marL="342900" indent="-342900" algn="just" defTabSz="1219170">
              <a:spcBef>
                <a:spcPts val="400"/>
              </a:spcBef>
              <a:spcAft>
                <a:spcPts val="400"/>
              </a:spcAft>
              <a:buFont typeface="Wingdings" panose="05000000000000000000" pitchFamily="2" charset="2"/>
              <a:buChar char="q"/>
              <a:defRPr/>
            </a:pP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Nâng cao chất lượng các hoạt động văn hóa, thông tin, truyền thông, phát thanh - truyền hình, thể dục thể thao</a:t>
            </a:r>
          </a:p>
          <a:p>
            <a:pPr marL="342900" indent="-342900" algn="just" defTabSz="1219170">
              <a:spcBef>
                <a:spcPts val="400"/>
              </a:spcBef>
              <a:spcAft>
                <a:spcPts val="400"/>
              </a:spcAft>
              <a:buFont typeface="Wingdings" panose="05000000000000000000" pitchFamily="2" charset="2"/>
              <a:buChar char="q"/>
              <a:defRPr/>
            </a:pPr>
            <a:r>
              <a:rPr lang="it-IT" spc="-10" dirty="0">
                <a:latin typeface="Times New Roman" panose="02020603050405020304" pitchFamily="18" charset="0"/>
                <a:ea typeface="Times New Roman" panose="02020603050405020304" pitchFamily="18" charset="0"/>
              </a:rPr>
              <a:t>X</a:t>
            </a:r>
            <a:r>
              <a:rPr lang="it-IT" sz="1800" spc="-10" dirty="0">
                <a:effectLst/>
                <a:latin typeface="Times New Roman" panose="02020603050405020304" pitchFamily="18" charset="0"/>
                <a:ea typeface="Times New Roman" panose="02020603050405020304" pitchFamily="18" charset="0"/>
              </a:rPr>
              <a:t>ây dựng hồ sơ khoa học Võ cổ truyền Bình Định trình UNESCO ghi danh là di sản văn hóa phi vật thể đại diện của nhân loại</a:t>
            </a:r>
            <a:endPar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Nâng cao chất lượng giảng dạy và học tập</a:t>
            </a:r>
            <a:endPar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ục</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hiện</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ác</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òng</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hống</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dịch</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ovid-19</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đ</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ẩy</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mạnh</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công</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ác</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iêm</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phòng</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vắc</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es-E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xin</a:t>
            </a:r>
            <a:r>
              <a:rPr lang="es-E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ovid-19</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Có giải pháp giải </a:t>
            </a:r>
            <a:r>
              <a:rPr lang="it-IT" sz="1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quyết </a:t>
            </a:r>
            <a:r>
              <a:rPr lang="en-US" sz="1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hó </a:t>
            </a:r>
            <a:r>
              <a:rPr lang="en-US" sz="1800" spc="-1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khăn</a:t>
            </a:r>
            <a:r>
              <a:rPr lang="en-US" sz="1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ủa </a:t>
            </a:r>
            <a:r>
              <a:rPr lang="en-U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ngành</a:t>
            </a:r>
            <a:r>
              <a:rPr lang="en-US"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y </a:t>
            </a:r>
            <a:r>
              <a:rPr lang="en-US" sz="1800" spc="-10" dirty="0" err="1">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ế</a:t>
            </a:r>
            <a:endPar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a:t>
            </a: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an sinh xã hội, ổn định đời sống nhân dân</a:t>
            </a:r>
            <a:endPar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ứng dụng các tiến bộ khoa học công nghệ vào sản xuất và đời sống</a:t>
            </a:r>
            <a:endPar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q"/>
              <a:defRPr/>
            </a:pPr>
            <a:r>
              <a:rPr lang="it-IT"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triển khai thực hiện chính sách đối với đồng bào dân tộc thiểu s</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ố, miền núi</a:t>
            </a:r>
          </a:p>
        </p:txBody>
      </p:sp>
      <p:pic>
        <p:nvPicPr>
          <p:cNvPr id="10" name="Picture 9" descr="A picture containing tree, outdoor, dancer, person&#10;&#10;Description automatically generated">
            <a:extLst>
              <a:ext uri="{FF2B5EF4-FFF2-40B4-BE49-F238E27FC236}">
                <a16:creationId xmlns:a16="http://schemas.microsoft.com/office/drawing/2014/main" id="{304C6E15-5AE4-E7D5-6BD2-CF5786F7455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05948" y="1593826"/>
            <a:ext cx="4030211" cy="2375534"/>
          </a:xfrm>
          <a:prstGeom prst="rect">
            <a:avLst/>
          </a:prstGeom>
        </p:spPr>
      </p:pic>
      <p:pic>
        <p:nvPicPr>
          <p:cNvPr id="12" name="Picture 11" descr="A group of people standing on a stage with a sign&#10;&#10;Description automatically generated with low confidence">
            <a:extLst>
              <a:ext uri="{FF2B5EF4-FFF2-40B4-BE49-F238E27FC236}">
                <a16:creationId xmlns:a16="http://schemas.microsoft.com/office/drawing/2014/main" id="{B189309A-A299-04D6-DD50-4B30D315370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05948" y="4133133"/>
            <a:ext cx="4030211" cy="2525269"/>
          </a:xfrm>
          <a:prstGeom prst="rect">
            <a:avLst/>
          </a:prstGeom>
        </p:spPr>
      </p:pic>
    </p:spTree>
    <p:extLst>
      <p:ext uri="{BB962C8B-B14F-4D97-AF65-F5344CB8AC3E}">
        <p14:creationId xmlns:p14="http://schemas.microsoft.com/office/powerpoint/2010/main" val="27593191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967863533"/>
              </p:ext>
            </p:extLst>
          </p:nvPr>
        </p:nvGraphicFramePr>
        <p:xfrm>
          <a:off x="526313" y="219528"/>
          <a:ext cx="10591801" cy="12395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F4077AF3-E87B-6ED3-C32E-F690520025FC}"/>
              </a:ext>
            </a:extLst>
          </p:cNvPr>
          <p:cNvSpPr txBox="1"/>
          <p:nvPr/>
        </p:nvSpPr>
        <p:spPr>
          <a:xfrm>
            <a:off x="977900" y="2022748"/>
            <a:ext cx="10591800" cy="3734356"/>
          </a:xfrm>
          <a:prstGeom prst="rect">
            <a:avLst/>
          </a:prstGeom>
          <a:noFill/>
        </p:spPr>
        <p:txBody>
          <a:bodyPr wrap="square" rtlCol="0">
            <a:spAutoFit/>
          </a:bodyPr>
          <a:lstStyle/>
          <a:p>
            <a:pPr marL="342900" indent="-342900" algn="just" defTabSz="1219170">
              <a:spcBef>
                <a:spcPts val="400"/>
              </a:spcBef>
              <a:spcAft>
                <a:spcPts val="400"/>
              </a:spcAft>
              <a:buFont typeface="Wingdings" panose="05000000000000000000" pitchFamily="2" charset="2"/>
              <a:buChar char="Ø"/>
              <a:defRPr/>
            </a:pP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n</a:t>
            </a:r>
            <a:r>
              <a:rPr lang="it-IT"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âng cao kết quả các Chỉ số PAPI, PCI, PAR Index và </a:t>
            </a:r>
            <a:r>
              <a:rPr lang="it-IT" sz="2400" spc="-10" dirty="0">
                <a:latin typeface="Times New Roman" panose="02020603050405020304" pitchFamily="18" charset="0"/>
                <a:ea typeface="Calibri" panose="020F0502020204030204" pitchFamily="34" charset="0"/>
                <a:cs typeface="Times New Roman" panose="02020603050405020304" pitchFamily="18" charset="0"/>
              </a:rPr>
              <a:t>SIPAS </a:t>
            </a:r>
            <a:r>
              <a:rPr lang="it-IT" sz="2400" spc="-10">
                <a:latin typeface="Times New Roman" panose="02020603050405020304" pitchFamily="18" charset="0"/>
                <a:ea typeface="Calibri" panose="020F0502020204030204" pitchFamily="34" charset="0"/>
                <a:cs typeface="Times New Roman" panose="02020603050405020304" pitchFamily="18" charset="0"/>
              </a:rPr>
              <a:t>của tỉnh. Triển khai thực hiện Kế hoạch 107/KH-UBND ngày 08/6/2023 của UBND tỉnh về cải </a:t>
            </a:r>
            <a:r>
              <a:rPr lang="it-IT" sz="2400" spc="-10">
                <a:latin typeface="Times New Roman" panose="02020603050405020304" pitchFamily="18" charset="0"/>
                <a:cs typeface="Times New Roman" panose="02020603050405020304" pitchFamily="18" charset="0"/>
              </a:rPr>
              <a:t>thiện nâng cao các Chỉ số </a:t>
            </a:r>
            <a:r>
              <a:rPr lang="vi-VN" sz="2400" spc="-10">
                <a:latin typeface="Times New Roman" panose="02020603050405020304" pitchFamily="18" charset="0"/>
                <a:cs typeface="Times New Roman" panose="02020603050405020304" pitchFamily="18" charset="0"/>
              </a:rPr>
              <a:t>liên quan đến công tác cải cách hành chính</a:t>
            </a:r>
            <a:endParaRPr lang="vi-VN" sz="2400" spc="-10" dirty="0">
              <a:latin typeface="Times New Roman" panose="02020603050405020304" pitchFamily="18"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Ø"/>
              <a:defRPr/>
            </a:pPr>
            <a:r>
              <a:rPr lang="de-DE"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a:t>
            </a: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iếp tục</a:t>
            </a:r>
            <a:r>
              <a:rPr lang="de-DE"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sắp xếp, tổ chức lại các đơn vị sự nghiệp công lập</a:t>
            </a:r>
            <a:endPar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Ø"/>
              <a:defRPr/>
            </a:pPr>
            <a:r>
              <a:rPr lang="it-IT"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công tác xây dựng chính quyền điện tử, chính quyền số, ứng dụng công nghệ thông tin vào hoạt động quản lý nhà nước</a:t>
            </a:r>
            <a:endPar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342900" indent="-342900" algn="just" defTabSz="1219170">
              <a:spcBef>
                <a:spcPts val="400"/>
              </a:spcBef>
              <a:spcAft>
                <a:spcPts val="400"/>
              </a:spcAft>
              <a:buFont typeface="Wingdings" panose="05000000000000000000" pitchFamily="2" charset="2"/>
              <a:buChar char="Ø"/>
              <a:defRPr/>
            </a:pPr>
            <a:r>
              <a:rPr lang="vi-VN" sz="24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hực hiện có hiệu quả các chương trình, kế hoạch về quốc phòng, an ninh, phòng chống tội phạm</a:t>
            </a:r>
          </a:p>
          <a:p>
            <a:pPr marL="342900" marR="0" lvl="0" indent="-342900" algn="just" defTabSz="1219170" rtl="0" eaLnBrk="1" fontAlgn="auto" latinLnBrk="0" hangingPunct="1">
              <a:lnSpc>
                <a:spcPct val="100000"/>
              </a:lnSpc>
              <a:spcBef>
                <a:spcPts val="400"/>
              </a:spcBef>
              <a:spcAft>
                <a:spcPts val="400"/>
              </a:spcAft>
              <a:buClrTx/>
              <a:buSzTx/>
              <a:buFont typeface="Wingdings" panose="05000000000000000000" pitchFamily="2" charset="2"/>
              <a:buChar char="q"/>
              <a:tabLst/>
              <a:defRPr/>
            </a:pPr>
            <a:endParaRPr lang="vi-VN" sz="18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7403556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913</TotalTime>
  <Words>20964</Words>
  <Application>Microsoft Office PowerPoint</Application>
  <PresentationFormat>Widescreen</PresentationFormat>
  <Paragraphs>3410</Paragraphs>
  <Slides>93</Slides>
  <Notes>4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3</vt:i4>
      </vt:variant>
      <vt:variant>
        <vt:lpstr>Slide Titles</vt:lpstr>
      </vt:variant>
      <vt:variant>
        <vt:i4>93</vt:i4>
      </vt:variant>
    </vt:vector>
  </HeadingPairs>
  <TitlesOfParts>
    <vt:vector size="107" baseType="lpstr">
      <vt:lpstr>ＭＳ Ｐゴシック</vt:lpstr>
      <vt:lpstr>.VnTime</vt:lpstr>
      <vt:lpstr>Arial</vt:lpstr>
      <vt:lpstr>Calibri</vt:lpstr>
      <vt:lpstr>Calibri Light</vt:lpstr>
      <vt:lpstr>Segoe UI</vt:lpstr>
      <vt:lpstr>Times New Roman</vt:lpstr>
      <vt:lpstr>Verdana</vt:lpstr>
      <vt:lpstr>Wingdings</vt:lpstr>
      <vt:lpstr>Office Theme</vt:lpstr>
      <vt:lpstr>12_Office Theme</vt:lpstr>
      <vt:lpstr>think-cell Slide</vt:lpstr>
      <vt:lpstr>Worksheet</vt:lpstr>
      <vt:lpstr>Microsoft Excel 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463</cp:revision>
  <cp:lastPrinted>2023-02-15T11:16:09Z</cp:lastPrinted>
  <dcterms:created xsi:type="dcterms:W3CDTF">2021-10-19T01:28:52Z</dcterms:created>
  <dcterms:modified xsi:type="dcterms:W3CDTF">2023-06-12T09:30:23Z</dcterms:modified>
</cp:coreProperties>
</file>